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2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9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notesSlides/notesSlide27.xml" ContentType="application/vnd.openxmlformats-officedocument.presentationml.notesSlid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  <p:sldMasterId id="2147483673" r:id="rId2"/>
    <p:sldMasterId id="2147483687" r:id="rId3"/>
  </p:sldMasterIdLst>
  <p:notesMasterIdLst>
    <p:notesMasterId r:id="rId48"/>
  </p:notesMasterIdLst>
  <p:sldIdLst>
    <p:sldId id="1722" r:id="rId4"/>
    <p:sldId id="4642" r:id="rId5"/>
    <p:sldId id="1731" r:id="rId6"/>
    <p:sldId id="1635" r:id="rId7"/>
    <p:sldId id="2260" r:id="rId8"/>
    <p:sldId id="2261" r:id="rId9"/>
    <p:sldId id="2244" r:id="rId10"/>
    <p:sldId id="4630" r:id="rId11"/>
    <p:sldId id="4631" r:id="rId12"/>
    <p:sldId id="1726" r:id="rId13"/>
    <p:sldId id="4627" r:id="rId14"/>
    <p:sldId id="1728" r:id="rId15"/>
    <p:sldId id="4645" r:id="rId16"/>
    <p:sldId id="4646" r:id="rId17"/>
    <p:sldId id="2263" r:id="rId18"/>
    <p:sldId id="2264" r:id="rId19"/>
    <p:sldId id="2272" r:id="rId20"/>
    <p:sldId id="2274" r:id="rId21"/>
    <p:sldId id="2276" r:id="rId22"/>
    <p:sldId id="4643" r:id="rId23"/>
    <p:sldId id="4647" r:id="rId24"/>
    <p:sldId id="4648" r:id="rId25"/>
    <p:sldId id="4651" r:id="rId26"/>
    <p:sldId id="4652" r:id="rId27"/>
    <p:sldId id="4653" r:id="rId28"/>
    <p:sldId id="4640" r:id="rId29"/>
    <p:sldId id="4655" r:id="rId30"/>
    <p:sldId id="4656" r:id="rId31"/>
    <p:sldId id="4657" r:id="rId32"/>
    <p:sldId id="4649" r:id="rId33"/>
    <p:sldId id="4650" r:id="rId34"/>
    <p:sldId id="2388" r:id="rId35"/>
    <p:sldId id="4658" r:id="rId36"/>
    <p:sldId id="4659" r:id="rId37"/>
    <p:sldId id="4660" r:id="rId38"/>
    <p:sldId id="4661" r:id="rId39"/>
    <p:sldId id="4662" r:id="rId40"/>
    <p:sldId id="4663" r:id="rId41"/>
    <p:sldId id="4664" r:id="rId42"/>
    <p:sldId id="4665" r:id="rId43"/>
    <p:sldId id="4589" r:id="rId44"/>
    <p:sldId id="1479" r:id="rId45"/>
    <p:sldId id="1480" r:id="rId46"/>
    <p:sldId id="4666" r:id="rId47"/>
  </p:sldIdLst>
  <p:sldSz cx="12192000" cy="6858000"/>
  <p:notesSz cx="6858000" cy="9144000"/>
  <p:embeddedFontLst>
    <p:embeddedFont>
      <p:font typeface="Calibri" panose="020F0502020204030204" pitchFamily="34" charset="0"/>
      <p:regular r:id="rId49"/>
      <p:bold r:id="rId50"/>
      <p:italic r:id="rId51"/>
      <p:boldItalic r:id="rId52"/>
    </p:embeddedFont>
    <p:embeddedFont>
      <p:font typeface="Calibri Light" panose="020F0302020204030204" pitchFamily="34" charset="0"/>
      <p:regular r:id="rId53"/>
      <p:italic r:id="rId54"/>
    </p:embeddedFont>
  </p:embeddedFontLst>
  <p:custDataLst>
    <p:tags r:id="rId55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FF00"/>
    <a:srgbClr val="FF00FF"/>
    <a:srgbClr val="000000"/>
    <a:srgbClr val="F3D9DC"/>
    <a:srgbClr val="EFCCCF"/>
    <a:srgbClr val="FFFFFF"/>
    <a:srgbClr val="F7E7E9"/>
    <a:srgbClr val="B0C2E5"/>
    <a:srgbClr val="7191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96" autoAdjust="0"/>
    <p:restoredTop sz="96327" autoAdjust="0"/>
  </p:normalViewPr>
  <p:slideViewPr>
    <p:cSldViewPr snapToGrid="0">
      <p:cViewPr varScale="1">
        <p:scale>
          <a:sx n="104" d="100"/>
          <a:sy n="104" d="100"/>
        </p:scale>
        <p:origin x="294" y="72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214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font" Target="fonts/font2.fntdata"/><Relationship Id="rId55" Type="http://schemas.openxmlformats.org/officeDocument/2006/relationships/tags" Target="tags/tag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font" Target="fonts/font5.fntdata"/><Relationship Id="rId58" Type="http://schemas.openxmlformats.org/officeDocument/2006/relationships/theme" Target="theme/theme1.xml"/><Relationship Id="rId5" Type="http://schemas.openxmlformats.org/officeDocument/2006/relationships/slide" Target="slides/slide2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notesMaster" Target="notesMasters/notesMaster1.xml"/><Relationship Id="rId56" Type="http://schemas.openxmlformats.org/officeDocument/2006/relationships/presProps" Target="presProps.xml"/><Relationship Id="rId8" Type="http://schemas.openxmlformats.org/officeDocument/2006/relationships/slide" Target="slides/slide5.xml"/><Relationship Id="rId51" Type="http://schemas.openxmlformats.org/officeDocument/2006/relationships/font" Target="fonts/font3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tableStyles" Target="tableStyles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font" Target="fonts/font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font" Target="fonts/font1.fntdata"/><Relationship Id="rId57" Type="http://schemas.openxmlformats.org/officeDocument/2006/relationships/viewProps" Target="viewProps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font" Target="fonts/font4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76661183243453179"/>
          <c:h val="0.87026380483546251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ZP celkem</c:v>
                </c:pt>
              </c:strCache>
            </c:strRef>
          </c:tx>
          <c:spPr>
            <a:ln w="28575" cap="rnd">
              <a:solidFill>
                <a:srgbClr val="000000"/>
              </a:solidFill>
              <a:round/>
            </a:ln>
            <a:effectLst/>
          </c:spPr>
          <c:marker>
            <c:symbol val="none"/>
          </c:marker>
          <c:cat>
            <c:strRef>
              <c:f>List1!$F$1:$MD$1</c:f>
              <c:strCache>
                <c:ptCount val="337"/>
                <c:pt idx="0">
                  <c:v>24-XII.</c:v>
                </c:pt>
                <c:pt idx="1">
                  <c:v>25-XII.</c:v>
                </c:pt>
                <c:pt idx="2">
                  <c:v>26-XII.</c:v>
                </c:pt>
                <c:pt idx="3">
                  <c:v>27-XII.</c:v>
                </c:pt>
                <c:pt idx="4">
                  <c:v>28-XII.</c:v>
                </c:pt>
                <c:pt idx="5">
                  <c:v>29-XII.</c:v>
                </c:pt>
                <c:pt idx="6">
                  <c:v>30-XII.</c:v>
                </c:pt>
                <c:pt idx="7">
                  <c:v>31-XII.</c:v>
                </c:pt>
                <c:pt idx="8">
                  <c:v>1-I.</c:v>
                </c:pt>
                <c:pt idx="9">
                  <c:v>2-I.</c:v>
                </c:pt>
                <c:pt idx="10">
                  <c:v>3-I.</c:v>
                </c:pt>
                <c:pt idx="11">
                  <c:v>4-I.</c:v>
                </c:pt>
                <c:pt idx="12">
                  <c:v>5-I.</c:v>
                </c:pt>
                <c:pt idx="13">
                  <c:v>6-I.</c:v>
                </c:pt>
                <c:pt idx="14">
                  <c:v>7-I.</c:v>
                </c:pt>
                <c:pt idx="15">
                  <c:v>8-I.</c:v>
                </c:pt>
                <c:pt idx="16">
                  <c:v>9-I.</c:v>
                </c:pt>
                <c:pt idx="17">
                  <c:v>10-I.</c:v>
                </c:pt>
                <c:pt idx="18">
                  <c:v>11-I.</c:v>
                </c:pt>
                <c:pt idx="19">
                  <c:v>12-I.</c:v>
                </c:pt>
                <c:pt idx="20">
                  <c:v>13-I.</c:v>
                </c:pt>
                <c:pt idx="21">
                  <c:v>14-I.</c:v>
                </c:pt>
                <c:pt idx="22">
                  <c:v>15-I.</c:v>
                </c:pt>
                <c:pt idx="23">
                  <c:v>16-I.</c:v>
                </c:pt>
                <c:pt idx="24">
                  <c:v>17-I.</c:v>
                </c:pt>
                <c:pt idx="25">
                  <c:v>18-I.</c:v>
                </c:pt>
                <c:pt idx="26">
                  <c:v>19-I.</c:v>
                </c:pt>
                <c:pt idx="27">
                  <c:v>20-I.</c:v>
                </c:pt>
                <c:pt idx="28">
                  <c:v>21-I.</c:v>
                </c:pt>
                <c:pt idx="29">
                  <c:v>22-I.</c:v>
                </c:pt>
                <c:pt idx="30">
                  <c:v>23-I.</c:v>
                </c:pt>
                <c:pt idx="31">
                  <c:v>24-I.</c:v>
                </c:pt>
                <c:pt idx="32">
                  <c:v>25-I.</c:v>
                </c:pt>
                <c:pt idx="33">
                  <c:v>26-I.</c:v>
                </c:pt>
                <c:pt idx="34">
                  <c:v>27-I.</c:v>
                </c:pt>
                <c:pt idx="35">
                  <c:v>28-I.</c:v>
                </c:pt>
                <c:pt idx="36">
                  <c:v>29-I.</c:v>
                </c:pt>
                <c:pt idx="37">
                  <c:v>30-I.</c:v>
                </c:pt>
                <c:pt idx="38">
                  <c:v>31-I.</c:v>
                </c:pt>
                <c:pt idx="39">
                  <c:v>1-II.</c:v>
                </c:pt>
                <c:pt idx="40">
                  <c:v>2-II.</c:v>
                </c:pt>
                <c:pt idx="41">
                  <c:v>3-II.</c:v>
                </c:pt>
                <c:pt idx="42">
                  <c:v>4-II.</c:v>
                </c:pt>
                <c:pt idx="43">
                  <c:v>5-II.</c:v>
                </c:pt>
                <c:pt idx="44">
                  <c:v>6-II.</c:v>
                </c:pt>
                <c:pt idx="45">
                  <c:v>7-II.</c:v>
                </c:pt>
                <c:pt idx="46">
                  <c:v>8-II.</c:v>
                </c:pt>
                <c:pt idx="47">
                  <c:v>9-II.</c:v>
                </c:pt>
                <c:pt idx="48">
                  <c:v>10-II.</c:v>
                </c:pt>
                <c:pt idx="49">
                  <c:v>11-II.</c:v>
                </c:pt>
                <c:pt idx="50">
                  <c:v>12-II.</c:v>
                </c:pt>
                <c:pt idx="51">
                  <c:v>13-II.</c:v>
                </c:pt>
                <c:pt idx="52">
                  <c:v>14-II.</c:v>
                </c:pt>
                <c:pt idx="53">
                  <c:v>15-II.</c:v>
                </c:pt>
                <c:pt idx="54">
                  <c:v>16-II.</c:v>
                </c:pt>
                <c:pt idx="55">
                  <c:v>17-II.</c:v>
                </c:pt>
                <c:pt idx="56">
                  <c:v>18-II.</c:v>
                </c:pt>
                <c:pt idx="57">
                  <c:v>19-II.</c:v>
                </c:pt>
                <c:pt idx="58">
                  <c:v>20-II.</c:v>
                </c:pt>
                <c:pt idx="59">
                  <c:v>21-II.</c:v>
                </c:pt>
                <c:pt idx="60">
                  <c:v>22-II.</c:v>
                </c:pt>
                <c:pt idx="61">
                  <c:v>23-II.</c:v>
                </c:pt>
                <c:pt idx="62">
                  <c:v>24-II.</c:v>
                </c:pt>
                <c:pt idx="63">
                  <c:v>25-II.</c:v>
                </c:pt>
                <c:pt idx="64">
                  <c:v>26-II.</c:v>
                </c:pt>
                <c:pt idx="65">
                  <c:v>27-II.</c:v>
                </c:pt>
                <c:pt idx="66">
                  <c:v>28-II.</c:v>
                </c:pt>
                <c:pt idx="67">
                  <c:v>1-III.</c:v>
                </c:pt>
                <c:pt idx="68">
                  <c:v>2-III.</c:v>
                </c:pt>
                <c:pt idx="69">
                  <c:v>3-III.</c:v>
                </c:pt>
                <c:pt idx="70">
                  <c:v>4-III.</c:v>
                </c:pt>
                <c:pt idx="71">
                  <c:v>5-III.</c:v>
                </c:pt>
                <c:pt idx="72">
                  <c:v>6-III.</c:v>
                </c:pt>
                <c:pt idx="73">
                  <c:v>7-III.</c:v>
                </c:pt>
                <c:pt idx="74">
                  <c:v>8-III.</c:v>
                </c:pt>
                <c:pt idx="75">
                  <c:v>9-III.</c:v>
                </c:pt>
                <c:pt idx="76">
                  <c:v>10-III.</c:v>
                </c:pt>
                <c:pt idx="77">
                  <c:v>11-III.</c:v>
                </c:pt>
                <c:pt idx="78">
                  <c:v>12-III.</c:v>
                </c:pt>
                <c:pt idx="79">
                  <c:v>13-III.</c:v>
                </c:pt>
                <c:pt idx="80">
                  <c:v>14-III.</c:v>
                </c:pt>
                <c:pt idx="81">
                  <c:v>15-III.</c:v>
                </c:pt>
                <c:pt idx="82">
                  <c:v>16-III.</c:v>
                </c:pt>
                <c:pt idx="83">
                  <c:v>17-III.</c:v>
                </c:pt>
                <c:pt idx="84">
                  <c:v>18-III.</c:v>
                </c:pt>
                <c:pt idx="85">
                  <c:v>19-III.</c:v>
                </c:pt>
                <c:pt idx="86">
                  <c:v>20-III.</c:v>
                </c:pt>
                <c:pt idx="87">
                  <c:v>21-III.</c:v>
                </c:pt>
                <c:pt idx="88">
                  <c:v>22-III.</c:v>
                </c:pt>
                <c:pt idx="89">
                  <c:v>23-III.</c:v>
                </c:pt>
                <c:pt idx="90">
                  <c:v>24-III.</c:v>
                </c:pt>
                <c:pt idx="91">
                  <c:v>25-III.</c:v>
                </c:pt>
                <c:pt idx="92">
                  <c:v>26-III.</c:v>
                </c:pt>
                <c:pt idx="93">
                  <c:v>27-III.</c:v>
                </c:pt>
                <c:pt idx="94">
                  <c:v>28-III.</c:v>
                </c:pt>
                <c:pt idx="95">
                  <c:v>29-III.</c:v>
                </c:pt>
                <c:pt idx="96">
                  <c:v>30-III.</c:v>
                </c:pt>
                <c:pt idx="97">
                  <c:v>31-III.</c:v>
                </c:pt>
                <c:pt idx="98">
                  <c:v>1-IV.</c:v>
                </c:pt>
                <c:pt idx="99">
                  <c:v>2-IV.</c:v>
                </c:pt>
                <c:pt idx="100">
                  <c:v>3-IV.</c:v>
                </c:pt>
                <c:pt idx="101">
                  <c:v>4-IV.</c:v>
                </c:pt>
                <c:pt idx="102">
                  <c:v>5-IV.</c:v>
                </c:pt>
                <c:pt idx="103">
                  <c:v>6-IV.</c:v>
                </c:pt>
                <c:pt idx="104">
                  <c:v>7-IV.</c:v>
                </c:pt>
                <c:pt idx="105">
                  <c:v>8-IV.</c:v>
                </c:pt>
                <c:pt idx="106">
                  <c:v>9-IV.</c:v>
                </c:pt>
                <c:pt idx="107">
                  <c:v>10-IV.</c:v>
                </c:pt>
                <c:pt idx="108">
                  <c:v>11-IV.</c:v>
                </c:pt>
                <c:pt idx="109">
                  <c:v>12-IV.</c:v>
                </c:pt>
                <c:pt idx="110">
                  <c:v>13-IV.</c:v>
                </c:pt>
                <c:pt idx="111">
                  <c:v>14-IV.</c:v>
                </c:pt>
                <c:pt idx="112">
                  <c:v>15-IV.</c:v>
                </c:pt>
                <c:pt idx="113">
                  <c:v>16-IV.</c:v>
                </c:pt>
                <c:pt idx="114">
                  <c:v>17-IV.</c:v>
                </c:pt>
                <c:pt idx="115">
                  <c:v>18-IV.</c:v>
                </c:pt>
                <c:pt idx="116">
                  <c:v>19-IV.</c:v>
                </c:pt>
                <c:pt idx="117">
                  <c:v>20-IV.</c:v>
                </c:pt>
                <c:pt idx="118">
                  <c:v>21-IV.</c:v>
                </c:pt>
                <c:pt idx="119">
                  <c:v>22-IV.</c:v>
                </c:pt>
                <c:pt idx="120">
                  <c:v>23-IV.</c:v>
                </c:pt>
                <c:pt idx="121">
                  <c:v>24-IV.</c:v>
                </c:pt>
                <c:pt idx="122">
                  <c:v>25-IV.</c:v>
                </c:pt>
                <c:pt idx="123">
                  <c:v>26-IV.</c:v>
                </c:pt>
                <c:pt idx="124">
                  <c:v>27-IV.</c:v>
                </c:pt>
                <c:pt idx="125">
                  <c:v>28-IV.</c:v>
                </c:pt>
                <c:pt idx="126">
                  <c:v>29-IV.</c:v>
                </c:pt>
                <c:pt idx="127">
                  <c:v>30-IV.</c:v>
                </c:pt>
                <c:pt idx="128">
                  <c:v>1-V.</c:v>
                </c:pt>
                <c:pt idx="129">
                  <c:v>2-V.</c:v>
                </c:pt>
                <c:pt idx="130">
                  <c:v>3-V.</c:v>
                </c:pt>
                <c:pt idx="131">
                  <c:v>4-V.</c:v>
                </c:pt>
                <c:pt idx="132">
                  <c:v>5-V.</c:v>
                </c:pt>
                <c:pt idx="133">
                  <c:v>6-V.</c:v>
                </c:pt>
                <c:pt idx="134">
                  <c:v>7-V.</c:v>
                </c:pt>
                <c:pt idx="135">
                  <c:v>8-V.</c:v>
                </c:pt>
                <c:pt idx="136">
                  <c:v>9-V.</c:v>
                </c:pt>
                <c:pt idx="137">
                  <c:v>10-V.</c:v>
                </c:pt>
                <c:pt idx="138">
                  <c:v>11-V.</c:v>
                </c:pt>
                <c:pt idx="139">
                  <c:v>12-V.</c:v>
                </c:pt>
                <c:pt idx="140">
                  <c:v>13-V.</c:v>
                </c:pt>
                <c:pt idx="141">
                  <c:v>14-V.</c:v>
                </c:pt>
                <c:pt idx="142">
                  <c:v>15-V.</c:v>
                </c:pt>
                <c:pt idx="143">
                  <c:v>16-V.</c:v>
                </c:pt>
                <c:pt idx="144">
                  <c:v>17-V.</c:v>
                </c:pt>
                <c:pt idx="145">
                  <c:v>18-V.</c:v>
                </c:pt>
                <c:pt idx="146">
                  <c:v>19-V.</c:v>
                </c:pt>
                <c:pt idx="147">
                  <c:v>20-V.</c:v>
                </c:pt>
                <c:pt idx="148">
                  <c:v>21-V.</c:v>
                </c:pt>
                <c:pt idx="149">
                  <c:v>22-V.</c:v>
                </c:pt>
                <c:pt idx="150">
                  <c:v>23-V.</c:v>
                </c:pt>
                <c:pt idx="151">
                  <c:v>24-V.</c:v>
                </c:pt>
                <c:pt idx="152">
                  <c:v>25-V.</c:v>
                </c:pt>
                <c:pt idx="153">
                  <c:v>26-V.</c:v>
                </c:pt>
                <c:pt idx="154">
                  <c:v>27-V.</c:v>
                </c:pt>
                <c:pt idx="155">
                  <c:v>28-V.</c:v>
                </c:pt>
                <c:pt idx="156">
                  <c:v>29-V.</c:v>
                </c:pt>
                <c:pt idx="157">
                  <c:v>30-V.</c:v>
                </c:pt>
                <c:pt idx="158">
                  <c:v>31-V.</c:v>
                </c:pt>
                <c:pt idx="159">
                  <c:v>1-VI.</c:v>
                </c:pt>
                <c:pt idx="160">
                  <c:v>2-VI.</c:v>
                </c:pt>
                <c:pt idx="161">
                  <c:v>3-VI.</c:v>
                </c:pt>
                <c:pt idx="162">
                  <c:v>4-VI.</c:v>
                </c:pt>
                <c:pt idx="163">
                  <c:v>5-VI.</c:v>
                </c:pt>
                <c:pt idx="164">
                  <c:v>6-VI.</c:v>
                </c:pt>
                <c:pt idx="165">
                  <c:v>7-VI.</c:v>
                </c:pt>
                <c:pt idx="166">
                  <c:v>8-VI.</c:v>
                </c:pt>
                <c:pt idx="167">
                  <c:v>9-VI.</c:v>
                </c:pt>
                <c:pt idx="168">
                  <c:v>10-VI.</c:v>
                </c:pt>
                <c:pt idx="169">
                  <c:v>11-VI.</c:v>
                </c:pt>
                <c:pt idx="170">
                  <c:v>12-VI.</c:v>
                </c:pt>
                <c:pt idx="171">
                  <c:v>13-VI.</c:v>
                </c:pt>
                <c:pt idx="172">
                  <c:v>14-VI.</c:v>
                </c:pt>
                <c:pt idx="173">
                  <c:v>15-VI.</c:v>
                </c:pt>
                <c:pt idx="174">
                  <c:v>16-VI.</c:v>
                </c:pt>
                <c:pt idx="175">
                  <c:v>17-VI.</c:v>
                </c:pt>
                <c:pt idx="176">
                  <c:v>18-VI.</c:v>
                </c:pt>
                <c:pt idx="177">
                  <c:v>19-VI.</c:v>
                </c:pt>
                <c:pt idx="178">
                  <c:v>20-VI.</c:v>
                </c:pt>
                <c:pt idx="179">
                  <c:v>21-VI.</c:v>
                </c:pt>
                <c:pt idx="180">
                  <c:v>22-VI.</c:v>
                </c:pt>
                <c:pt idx="181">
                  <c:v>23-VI.</c:v>
                </c:pt>
                <c:pt idx="182">
                  <c:v>24-VI.</c:v>
                </c:pt>
                <c:pt idx="183">
                  <c:v>25-VI.</c:v>
                </c:pt>
                <c:pt idx="184">
                  <c:v>26-VI.</c:v>
                </c:pt>
                <c:pt idx="185">
                  <c:v>27-VI.</c:v>
                </c:pt>
                <c:pt idx="186">
                  <c:v>28-VI.</c:v>
                </c:pt>
                <c:pt idx="187">
                  <c:v>29-VI.</c:v>
                </c:pt>
                <c:pt idx="188">
                  <c:v>30-VI.</c:v>
                </c:pt>
                <c:pt idx="189">
                  <c:v>1-VII.</c:v>
                </c:pt>
                <c:pt idx="190">
                  <c:v>2-VII.</c:v>
                </c:pt>
                <c:pt idx="191">
                  <c:v>3-VII.</c:v>
                </c:pt>
                <c:pt idx="192">
                  <c:v>4-VII.</c:v>
                </c:pt>
                <c:pt idx="193">
                  <c:v>5-VII.</c:v>
                </c:pt>
                <c:pt idx="194">
                  <c:v>6-VII.</c:v>
                </c:pt>
                <c:pt idx="195">
                  <c:v>7-VII.</c:v>
                </c:pt>
                <c:pt idx="196">
                  <c:v>8-VII.</c:v>
                </c:pt>
                <c:pt idx="197">
                  <c:v>9-VII.</c:v>
                </c:pt>
                <c:pt idx="198">
                  <c:v>10-VII.</c:v>
                </c:pt>
                <c:pt idx="199">
                  <c:v>11-VII.</c:v>
                </c:pt>
                <c:pt idx="200">
                  <c:v>12-VII.</c:v>
                </c:pt>
                <c:pt idx="201">
                  <c:v>13-VII.</c:v>
                </c:pt>
                <c:pt idx="202">
                  <c:v>14-VII.</c:v>
                </c:pt>
                <c:pt idx="203">
                  <c:v>15-VII.</c:v>
                </c:pt>
                <c:pt idx="204">
                  <c:v>16-VII.</c:v>
                </c:pt>
                <c:pt idx="205">
                  <c:v>17-VII.</c:v>
                </c:pt>
                <c:pt idx="206">
                  <c:v>18-VII.</c:v>
                </c:pt>
                <c:pt idx="207">
                  <c:v>19-VII.</c:v>
                </c:pt>
                <c:pt idx="208">
                  <c:v>20-VII.</c:v>
                </c:pt>
                <c:pt idx="209">
                  <c:v>21-VII.</c:v>
                </c:pt>
                <c:pt idx="210">
                  <c:v>22-VII.</c:v>
                </c:pt>
                <c:pt idx="211">
                  <c:v>23-VII.</c:v>
                </c:pt>
                <c:pt idx="212">
                  <c:v>24-VII.</c:v>
                </c:pt>
                <c:pt idx="213">
                  <c:v>25-VII.</c:v>
                </c:pt>
                <c:pt idx="214">
                  <c:v>26-VII.</c:v>
                </c:pt>
                <c:pt idx="215">
                  <c:v>27-VII.</c:v>
                </c:pt>
                <c:pt idx="216">
                  <c:v>28-VII.</c:v>
                </c:pt>
                <c:pt idx="217">
                  <c:v>29-VII.</c:v>
                </c:pt>
                <c:pt idx="218">
                  <c:v>30-VII.</c:v>
                </c:pt>
                <c:pt idx="219">
                  <c:v>31-VII.</c:v>
                </c:pt>
                <c:pt idx="220">
                  <c:v>1-VIII.</c:v>
                </c:pt>
                <c:pt idx="221">
                  <c:v>2-VIII.</c:v>
                </c:pt>
                <c:pt idx="222">
                  <c:v>3-VIII.</c:v>
                </c:pt>
                <c:pt idx="223">
                  <c:v>4-VIII.</c:v>
                </c:pt>
                <c:pt idx="224">
                  <c:v>5-VIII.</c:v>
                </c:pt>
                <c:pt idx="225">
                  <c:v>6-VIII.</c:v>
                </c:pt>
                <c:pt idx="226">
                  <c:v>7-VIII.</c:v>
                </c:pt>
                <c:pt idx="227">
                  <c:v>8-VIII.</c:v>
                </c:pt>
                <c:pt idx="228">
                  <c:v>9-VIII.</c:v>
                </c:pt>
                <c:pt idx="229">
                  <c:v>10-VIII.</c:v>
                </c:pt>
                <c:pt idx="230">
                  <c:v>11-VIII.</c:v>
                </c:pt>
                <c:pt idx="231">
                  <c:v>12-VIII.</c:v>
                </c:pt>
                <c:pt idx="232">
                  <c:v>13-VIII.</c:v>
                </c:pt>
                <c:pt idx="233">
                  <c:v>14-VIII.</c:v>
                </c:pt>
                <c:pt idx="234">
                  <c:v>15-VIII.</c:v>
                </c:pt>
                <c:pt idx="235">
                  <c:v>16-VIII.</c:v>
                </c:pt>
                <c:pt idx="236">
                  <c:v>17-VIII.</c:v>
                </c:pt>
                <c:pt idx="237">
                  <c:v>18-VIII.</c:v>
                </c:pt>
                <c:pt idx="238">
                  <c:v>19-VIII.</c:v>
                </c:pt>
                <c:pt idx="239">
                  <c:v>20-VIII.</c:v>
                </c:pt>
                <c:pt idx="240">
                  <c:v>21-VIII.</c:v>
                </c:pt>
                <c:pt idx="241">
                  <c:v>22-VIII.</c:v>
                </c:pt>
                <c:pt idx="242">
                  <c:v>23-VIII.</c:v>
                </c:pt>
                <c:pt idx="243">
                  <c:v>24-VIII.</c:v>
                </c:pt>
                <c:pt idx="244">
                  <c:v>25-VIII.</c:v>
                </c:pt>
                <c:pt idx="245">
                  <c:v>26-VIII.</c:v>
                </c:pt>
                <c:pt idx="246">
                  <c:v>27-VIII.</c:v>
                </c:pt>
                <c:pt idx="247">
                  <c:v>28-VIII.</c:v>
                </c:pt>
                <c:pt idx="248">
                  <c:v>29-VIII.</c:v>
                </c:pt>
                <c:pt idx="249">
                  <c:v>30-VIII.</c:v>
                </c:pt>
                <c:pt idx="250">
                  <c:v>31-VIII.</c:v>
                </c:pt>
                <c:pt idx="251">
                  <c:v>1-IX.</c:v>
                </c:pt>
                <c:pt idx="252">
                  <c:v>2-IX.</c:v>
                </c:pt>
                <c:pt idx="253">
                  <c:v>3-IX.</c:v>
                </c:pt>
                <c:pt idx="254">
                  <c:v>4-IX.</c:v>
                </c:pt>
                <c:pt idx="255">
                  <c:v>5-IX.</c:v>
                </c:pt>
                <c:pt idx="256">
                  <c:v>6-IX.</c:v>
                </c:pt>
                <c:pt idx="257">
                  <c:v>7-IX.</c:v>
                </c:pt>
                <c:pt idx="258">
                  <c:v>8-IX.</c:v>
                </c:pt>
                <c:pt idx="259">
                  <c:v>9-IX.</c:v>
                </c:pt>
                <c:pt idx="260">
                  <c:v>10-IX.</c:v>
                </c:pt>
                <c:pt idx="261">
                  <c:v>11-IX.</c:v>
                </c:pt>
                <c:pt idx="262">
                  <c:v>12-IX.</c:v>
                </c:pt>
                <c:pt idx="263">
                  <c:v>13-IX.</c:v>
                </c:pt>
                <c:pt idx="264">
                  <c:v>14-IX.</c:v>
                </c:pt>
                <c:pt idx="265">
                  <c:v>15-IX.</c:v>
                </c:pt>
                <c:pt idx="266">
                  <c:v>16-IX.</c:v>
                </c:pt>
                <c:pt idx="267">
                  <c:v>17-IX.</c:v>
                </c:pt>
                <c:pt idx="268">
                  <c:v>18-IX.</c:v>
                </c:pt>
                <c:pt idx="269">
                  <c:v>19-IX.</c:v>
                </c:pt>
                <c:pt idx="270">
                  <c:v>20-IX.</c:v>
                </c:pt>
                <c:pt idx="271">
                  <c:v>21-IX.</c:v>
                </c:pt>
                <c:pt idx="272">
                  <c:v>22-IX.</c:v>
                </c:pt>
                <c:pt idx="273">
                  <c:v>23-IX.</c:v>
                </c:pt>
                <c:pt idx="274">
                  <c:v>24-IX.</c:v>
                </c:pt>
                <c:pt idx="275">
                  <c:v>25-IX.</c:v>
                </c:pt>
                <c:pt idx="276">
                  <c:v>26-IX.</c:v>
                </c:pt>
                <c:pt idx="277">
                  <c:v>27-IX.</c:v>
                </c:pt>
                <c:pt idx="278">
                  <c:v>28-IX.</c:v>
                </c:pt>
                <c:pt idx="279">
                  <c:v>29-IX.</c:v>
                </c:pt>
                <c:pt idx="280">
                  <c:v>30-IX.</c:v>
                </c:pt>
                <c:pt idx="281">
                  <c:v>1-X.</c:v>
                </c:pt>
                <c:pt idx="282">
                  <c:v>2-X.</c:v>
                </c:pt>
                <c:pt idx="283">
                  <c:v>3-X.</c:v>
                </c:pt>
                <c:pt idx="284">
                  <c:v>4-X.</c:v>
                </c:pt>
                <c:pt idx="285">
                  <c:v>5-X.</c:v>
                </c:pt>
                <c:pt idx="286">
                  <c:v>6-X.</c:v>
                </c:pt>
                <c:pt idx="287">
                  <c:v>7-X.</c:v>
                </c:pt>
                <c:pt idx="288">
                  <c:v>8-X.</c:v>
                </c:pt>
                <c:pt idx="289">
                  <c:v>9-X.</c:v>
                </c:pt>
                <c:pt idx="290">
                  <c:v>10-X.</c:v>
                </c:pt>
                <c:pt idx="291">
                  <c:v>11-X.</c:v>
                </c:pt>
                <c:pt idx="292">
                  <c:v>12-X.</c:v>
                </c:pt>
                <c:pt idx="293">
                  <c:v>13-X.</c:v>
                </c:pt>
                <c:pt idx="294">
                  <c:v>14-X.</c:v>
                </c:pt>
                <c:pt idx="295">
                  <c:v>15-X.</c:v>
                </c:pt>
                <c:pt idx="296">
                  <c:v>16-X.</c:v>
                </c:pt>
                <c:pt idx="297">
                  <c:v>17-X.</c:v>
                </c:pt>
                <c:pt idx="298">
                  <c:v>18-X.</c:v>
                </c:pt>
                <c:pt idx="299">
                  <c:v>19-X.</c:v>
                </c:pt>
                <c:pt idx="300">
                  <c:v>20-X.</c:v>
                </c:pt>
                <c:pt idx="301">
                  <c:v>21-X.</c:v>
                </c:pt>
                <c:pt idx="302">
                  <c:v>22-X.</c:v>
                </c:pt>
                <c:pt idx="303">
                  <c:v>23-X.</c:v>
                </c:pt>
                <c:pt idx="304">
                  <c:v>24-X.</c:v>
                </c:pt>
                <c:pt idx="305">
                  <c:v>25-X.</c:v>
                </c:pt>
                <c:pt idx="306">
                  <c:v>26-X.</c:v>
                </c:pt>
                <c:pt idx="307">
                  <c:v>27-X.</c:v>
                </c:pt>
                <c:pt idx="308">
                  <c:v>28-X.</c:v>
                </c:pt>
                <c:pt idx="309">
                  <c:v>29-X.</c:v>
                </c:pt>
                <c:pt idx="310">
                  <c:v>30-X.</c:v>
                </c:pt>
                <c:pt idx="311">
                  <c:v>31-X.</c:v>
                </c:pt>
                <c:pt idx="312">
                  <c:v>1-XI.</c:v>
                </c:pt>
                <c:pt idx="313">
                  <c:v>2-XI.</c:v>
                </c:pt>
                <c:pt idx="314">
                  <c:v>3-XI.</c:v>
                </c:pt>
                <c:pt idx="315">
                  <c:v>4-XI.</c:v>
                </c:pt>
                <c:pt idx="316">
                  <c:v>5-XI.</c:v>
                </c:pt>
                <c:pt idx="317">
                  <c:v>6-XI.</c:v>
                </c:pt>
                <c:pt idx="318">
                  <c:v>7-XI.</c:v>
                </c:pt>
                <c:pt idx="319">
                  <c:v>8-XI.</c:v>
                </c:pt>
                <c:pt idx="320">
                  <c:v>9-XI.</c:v>
                </c:pt>
                <c:pt idx="321">
                  <c:v>10-XI.</c:v>
                </c:pt>
                <c:pt idx="322">
                  <c:v>11-XI.</c:v>
                </c:pt>
                <c:pt idx="323">
                  <c:v>12-XI.</c:v>
                </c:pt>
                <c:pt idx="324">
                  <c:v>13-XI.</c:v>
                </c:pt>
                <c:pt idx="325">
                  <c:v>14-XI.</c:v>
                </c:pt>
                <c:pt idx="326">
                  <c:v>15-XI.</c:v>
                </c:pt>
                <c:pt idx="327">
                  <c:v>16-XI.</c:v>
                </c:pt>
                <c:pt idx="328">
                  <c:v>17-XI.</c:v>
                </c:pt>
                <c:pt idx="329">
                  <c:v>18-XI.</c:v>
                </c:pt>
                <c:pt idx="330">
                  <c:v>19-XI.</c:v>
                </c:pt>
                <c:pt idx="331">
                  <c:v>20-XI.</c:v>
                </c:pt>
                <c:pt idx="332">
                  <c:v>21-XI.</c:v>
                </c:pt>
                <c:pt idx="333">
                  <c:v>22-XI.</c:v>
                </c:pt>
                <c:pt idx="334">
                  <c:v>23-XI.</c:v>
                </c:pt>
                <c:pt idx="335">
                  <c:v>24-XI.</c:v>
                </c:pt>
                <c:pt idx="336">
                  <c:v>25-XI.</c:v>
                </c:pt>
              </c:strCache>
            </c:strRef>
          </c:cat>
          <c:val>
            <c:numRef>
              <c:f>List1!$F$2:$MD$2</c:f>
              <c:numCache>
                <c:formatCode>General</c:formatCode>
                <c:ptCount val="337"/>
                <c:pt idx="3">
                  <c:v>1049</c:v>
                </c:pt>
                <c:pt idx="4">
                  <c:v>2944</c:v>
                </c:pt>
                <c:pt idx="5">
                  <c:v>5609</c:v>
                </c:pt>
                <c:pt idx="6">
                  <c:v>8311</c:v>
                </c:pt>
                <c:pt idx="7">
                  <c:v>9201</c:v>
                </c:pt>
                <c:pt idx="8">
                  <c:v>9438</c:v>
                </c:pt>
                <c:pt idx="9">
                  <c:v>10601</c:v>
                </c:pt>
                <c:pt idx="10">
                  <c:v>11442</c:v>
                </c:pt>
                <c:pt idx="11">
                  <c:v>14616</c:v>
                </c:pt>
                <c:pt idx="12">
                  <c:v>18538</c:v>
                </c:pt>
                <c:pt idx="13">
                  <c:v>23462</c:v>
                </c:pt>
                <c:pt idx="14">
                  <c:v>29292</c:v>
                </c:pt>
                <c:pt idx="15">
                  <c:v>36081</c:v>
                </c:pt>
                <c:pt idx="16">
                  <c:v>37242</c:v>
                </c:pt>
                <c:pt idx="17">
                  <c:v>38195</c:v>
                </c:pt>
                <c:pt idx="18">
                  <c:v>44613</c:v>
                </c:pt>
                <c:pt idx="19">
                  <c:v>52044</c:v>
                </c:pt>
                <c:pt idx="20">
                  <c:v>58646</c:v>
                </c:pt>
                <c:pt idx="21">
                  <c:v>65623</c:v>
                </c:pt>
                <c:pt idx="22">
                  <c:v>71825</c:v>
                </c:pt>
                <c:pt idx="23">
                  <c:v>72761</c:v>
                </c:pt>
                <c:pt idx="24">
                  <c:v>73310</c:v>
                </c:pt>
                <c:pt idx="25">
                  <c:v>78001</c:v>
                </c:pt>
                <c:pt idx="26">
                  <c:v>81814</c:v>
                </c:pt>
                <c:pt idx="27">
                  <c:v>85529</c:v>
                </c:pt>
                <c:pt idx="28">
                  <c:v>88922</c:v>
                </c:pt>
                <c:pt idx="29">
                  <c:v>91812</c:v>
                </c:pt>
                <c:pt idx="30">
                  <c:v>92203</c:v>
                </c:pt>
                <c:pt idx="31">
                  <c:v>92438</c:v>
                </c:pt>
                <c:pt idx="32">
                  <c:v>94042</c:v>
                </c:pt>
                <c:pt idx="33">
                  <c:v>95810</c:v>
                </c:pt>
                <c:pt idx="34">
                  <c:v>97260</c:v>
                </c:pt>
                <c:pt idx="35">
                  <c:v>98646</c:v>
                </c:pt>
                <c:pt idx="36">
                  <c:v>99924</c:v>
                </c:pt>
                <c:pt idx="37">
                  <c:v>99996</c:v>
                </c:pt>
                <c:pt idx="38">
                  <c:v>100067</c:v>
                </c:pt>
                <c:pt idx="39">
                  <c:v>100959</c:v>
                </c:pt>
                <c:pt idx="40">
                  <c:v>101825</c:v>
                </c:pt>
                <c:pt idx="41">
                  <c:v>102640</c:v>
                </c:pt>
                <c:pt idx="42">
                  <c:v>103349</c:v>
                </c:pt>
                <c:pt idx="43">
                  <c:v>104276</c:v>
                </c:pt>
                <c:pt idx="44">
                  <c:v>104326</c:v>
                </c:pt>
                <c:pt idx="45">
                  <c:v>104376</c:v>
                </c:pt>
                <c:pt idx="46">
                  <c:v>105017</c:v>
                </c:pt>
                <c:pt idx="47">
                  <c:v>105671</c:v>
                </c:pt>
                <c:pt idx="48">
                  <c:v>106536</c:v>
                </c:pt>
                <c:pt idx="49">
                  <c:v>107588</c:v>
                </c:pt>
                <c:pt idx="50">
                  <c:v>108789</c:v>
                </c:pt>
                <c:pt idx="51">
                  <c:v>109171</c:v>
                </c:pt>
                <c:pt idx="52">
                  <c:v>109356</c:v>
                </c:pt>
                <c:pt idx="53">
                  <c:v>110681</c:v>
                </c:pt>
                <c:pt idx="54">
                  <c:v>111975</c:v>
                </c:pt>
                <c:pt idx="55">
                  <c:v>113351</c:v>
                </c:pt>
                <c:pt idx="56">
                  <c:v>114917</c:v>
                </c:pt>
                <c:pt idx="57">
                  <c:v>116772</c:v>
                </c:pt>
                <c:pt idx="58">
                  <c:v>117232</c:v>
                </c:pt>
                <c:pt idx="59">
                  <c:v>117394</c:v>
                </c:pt>
                <c:pt idx="60">
                  <c:v>118985</c:v>
                </c:pt>
                <c:pt idx="61">
                  <c:v>121278</c:v>
                </c:pt>
                <c:pt idx="62">
                  <c:v>123779</c:v>
                </c:pt>
                <c:pt idx="63">
                  <c:v>126810</c:v>
                </c:pt>
                <c:pt idx="64">
                  <c:v>129419</c:v>
                </c:pt>
                <c:pt idx="65">
                  <c:v>129727</c:v>
                </c:pt>
                <c:pt idx="66">
                  <c:v>129945</c:v>
                </c:pt>
                <c:pt idx="67">
                  <c:v>132494</c:v>
                </c:pt>
                <c:pt idx="68">
                  <c:v>135256</c:v>
                </c:pt>
                <c:pt idx="69">
                  <c:v>137922</c:v>
                </c:pt>
                <c:pt idx="70">
                  <c:v>140376</c:v>
                </c:pt>
                <c:pt idx="71">
                  <c:v>143341</c:v>
                </c:pt>
                <c:pt idx="72">
                  <c:v>144045</c:v>
                </c:pt>
                <c:pt idx="73">
                  <c:v>144555</c:v>
                </c:pt>
                <c:pt idx="74">
                  <c:v>146503</c:v>
                </c:pt>
                <c:pt idx="75">
                  <c:v>148648</c:v>
                </c:pt>
                <c:pt idx="76">
                  <c:v>150895</c:v>
                </c:pt>
                <c:pt idx="77">
                  <c:v>153894</c:v>
                </c:pt>
                <c:pt idx="78">
                  <c:v>156508</c:v>
                </c:pt>
                <c:pt idx="79">
                  <c:v>157166</c:v>
                </c:pt>
                <c:pt idx="80">
                  <c:v>157734</c:v>
                </c:pt>
                <c:pt idx="81">
                  <c:v>159318</c:v>
                </c:pt>
                <c:pt idx="82">
                  <c:v>161649</c:v>
                </c:pt>
                <c:pt idx="83">
                  <c:v>163965</c:v>
                </c:pt>
                <c:pt idx="84">
                  <c:v>165993</c:v>
                </c:pt>
                <c:pt idx="85">
                  <c:v>168253</c:v>
                </c:pt>
                <c:pt idx="86">
                  <c:v>169129</c:v>
                </c:pt>
                <c:pt idx="87">
                  <c:v>169577</c:v>
                </c:pt>
                <c:pt idx="88">
                  <c:v>170730</c:v>
                </c:pt>
                <c:pt idx="89">
                  <c:v>171969</c:v>
                </c:pt>
                <c:pt idx="90">
                  <c:v>173035</c:v>
                </c:pt>
                <c:pt idx="91">
                  <c:v>174332</c:v>
                </c:pt>
                <c:pt idx="92">
                  <c:v>175706</c:v>
                </c:pt>
                <c:pt idx="93">
                  <c:v>176081</c:v>
                </c:pt>
                <c:pt idx="94">
                  <c:v>176424</c:v>
                </c:pt>
                <c:pt idx="95">
                  <c:v>177207</c:v>
                </c:pt>
                <c:pt idx="96">
                  <c:v>178234</c:v>
                </c:pt>
                <c:pt idx="97">
                  <c:v>179360</c:v>
                </c:pt>
                <c:pt idx="98">
                  <c:v>180463</c:v>
                </c:pt>
                <c:pt idx="99">
                  <c:v>180732</c:v>
                </c:pt>
                <c:pt idx="100">
                  <c:v>180852</c:v>
                </c:pt>
                <c:pt idx="101">
                  <c:v>180968</c:v>
                </c:pt>
                <c:pt idx="102">
                  <c:v>181040</c:v>
                </c:pt>
                <c:pt idx="103">
                  <c:v>181606</c:v>
                </c:pt>
                <c:pt idx="104">
                  <c:v>182279</c:v>
                </c:pt>
                <c:pt idx="105">
                  <c:v>183523</c:v>
                </c:pt>
                <c:pt idx="106">
                  <c:v>184795</c:v>
                </c:pt>
                <c:pt idx="107">
                  <c:v>185172</c:v>
                </c:pt>
                <c:pt idx="108">
                  <c:v>185420</c:v>
                </c:pt>
                <c:pt idx="109">
                  <c:v>186356</c:v>
                </c:pt>
                <c:pt idx="110">
                  <c:v>187167</c:v>
                </c:pt>
                <c:pt idx="111">
                  <c:v>188110</c:v>
                </c:pt>
                <c:pt idx="112">
                  <c:v>189476</c:v>
                </c:pt>
                <c:pt idx="113">
                  <c:v>191022</c:v>
                </c:pt>
                <c:pt idx="114">
                  <c:v>191443</c:v>
                </c:pt>
                <c:pt idx="115">
                  <c:v>191883</c:v>
                </c:pt>
                <c:pt idx="116">
                  <c:v>192983</c:v>
                </c:pt>
                <c:pt idx="117">
                  <c:v>194031</c:v>
                </c:pt>
                <c:pt idx="118">
                  <c:v>195321</c:v>
                </c:pt>
                <c:pt idx="119">
                  <c:v>196790</c:v>
                </c:pt>
                <c:pt idx="120">
                  <c:v>198307</c:v>
                </c:pt>
                <c:pt idx="121">
                  <c:v>198743</c:v>
                </c:pt>
                <c:pt idx="122">
                  <c:v>199118</c:v>
                </c:pt>
                <c:pt idx="123">
                  <c:v>200322</c:v>
                </c:pt>
                <c:pt idx="124">
                  <c:v>201416</c:v>
                </c:pt>
                <c:pt idx="125">
                  <c:v>202805</c:v>
                </c:pt>
                <c:pt idx="126">
                  <c:v>204277</c:v>
                </c:pt>
                <c:pt idx="127">
                  <c:v>205678</c:v>
                </c:pt>
                <c:pt idx="128">
                  <c:v>206015</c:v>
                </c:pt>
                <c:pt idx="129">
                  <c:v>206354</c:v>
                </c:pt>
                <c:pt idx="130">
                  <c:v>207435</c:v>
                </c:pt>
                <c:pt idx="131">
                  <c:v>208537</c:v>
                </c:pt>
                <c:pt idx="132">
                  <c:v>209682</c:v>
                </c:pt>
                <c:pt idx="133">
                  <c:v>210877</c:v>
                </c:pt>
                <c:pt idx="134">
                  <c:v>212181</c:v>
                </c:pt>
                <c:pt idx="135">
                  <c:v>212683</c:v>
                </c:pt>
                <c:pt idx="136">
                  <c:v>212993</c:v>
                </c:pt>
                <c:pt idx="137">
                  <c:v>213967</c:v>
                </c:pt>
                <c:pt idx="138">
                  <c:v>214992</c:v>
                </c:pt>
                <c:pt idx="139">
                  <c:v>216033</c:v>
                </c:pt>
                <c:pt idx="140">
                  <c:v>217172</c:v>
                </c:pt>
                <c:pt idx="141">
                  <c:v>218174</c:v>
                </c:pt>
                <c:pt idx="142">
                  <c:v>218615</c:v>
                </c:pt>
                <c:pt idx="143">
                  <c:v>218900</c:v>
                </c:pt>
                <c:pt idx="144">
                  <c:v>219687</c:v>
                </c:pt>
                <c:pt idx="145">
                  <c:v>220566</c:v>
                </c:pt>
                <c:pt idx="146">
                  <c:v>221469</c:v>
                </c:pt>
                <c:pt idx="147">
                  <c:v>222401</c:v>
                </c:pt>
                <c:pt idx="148">
                  <c:v>223323</c:v>
                </c:pt>
                <c:pt idx="149">
                  <c:v>223675</c:v>
                </c:pt>
                <c:pt idx="150">
                  <c:v>223903</c:v>
                </c:pt>
                <c:pt idx="151">
                  <c:v>224457</c:v>
                </c:pt>
                <c:pt idx="152">
                  <c:v>225087</c:v>
                </c:pt>
                <c:pt idx="153">
                  <c:v>225944</c:v>
                </c:pt>
                <c:pt idx="154">
                  <c:v>226730</c:v>
                </c:pt>
                <c:pt idx="155">
                  <c:v>227555</c:v>
                </c:pt>
                <c:pt idx="156">
                  <c:v>227918</c:v>
                </c:pt>
                <c:pt idx="157">
                  <c:v>228206</c:v>
                </c:pt>
                <c:pt idx="158">
                  <c:v>228898</c:v>
                </c:pt>
                <c:pt idx="159">
                  <c:v>229624</c:v>
                </c:pt>
                <c:pt idx="160">
                  <c:v>230516</c:v>
                </c:pt>
                <c:pt idx="161">
                  <c:v>231354</c:v>
                </c:pt>
                <c:pt idx="162">
                  <c:v>232235</c:v>
                </c:pt>
                <c:pt idx="163">
                  <c:v>232656</c:v>
                </c:pt>
                <c:pt idx="164">
                  <c:v>233059</c:v>
                </c:pt>
                <c:pt idx="165">
                  <c:v>233951</c:v>
                </c:pt>
                <c:pt idx="166">
                  <c:v>234933</c:v>
                </c:pt>
                <c:pt idx="167">
                  <c:v>235848</c:v>
                </c:pt>
                <c:pt idx="168">
                  <c:v>236722</c:v>
                </c:pt>
                <c:pt idx="169">
                  <c:v>237577</c:v>
                </c:pt>
                <c:pt idx="170">
                  <c:v>238100</c:v>
                </c:pt>
                <c:pt idx="171">
                  <c:v>238471</c:v>
                </c:pt>
                <c:pt idx="172">
                  <c:v>239142</c:v>
                </c:pt>
                <c:pt idx="173">
                  <c:v>239896</c:v>
                </c:pt>
                <c:pt idx="174">
                  <c:v>240602</c:v>
                </c:pt>
                <c:pt idx="175">
                  <c:v>241311</c:v>
                </c:pt>
                <c:pt idx="176">
                  <c:v>241983</c:v>
                </c:pt>
                <c:pt idx="177">
                  <c:v>242316</c:v>
                </c:pt>
                <c:pt idx="178">
                  <c:v>242575</c:v>
                </c:pt>
                <c:pt idx="179">
                  <c:v>243084</c:v>
                </c:pt>
                <c:pt idx="180">
                  <c:v>243671</c:v>
                </c:pt>
                <c:pt idx="181">
                  <c:v>244168</c:v>
                </c:pt>
                <c:pt idx="182">
                  <c:v>244668</c:v>
                </c:pt>
                <c:pt idx="183">
                  <c:v>245165</c:v>
                </c:pt>
                <c:pt idx="184">
                  <c:v>245421</c:v>
                </c:pt>
                <c:pt idx="185">
                  <c:v>245609</c:v>
                </c:pt>
                <c:pt idx="186">
                  <c:v>246104</c:v>
                </c:pt>
                <c:pt idx="187">
                  <c:v>246565</c:v>
                </c:pt>
                <c:pt idx="188">
                  <c:v>247044</c:v>
                </c:pt>
                <c:pt idx="189">
                  <c:v>247406</c:v>
                </c:pt>
                <c:pt idx="190">
                  <c:v>247887</c:v>
                </c:pt>
                <c:pt idx="191">
                  <c:v>247985</c:v>
                </c:pt>
                <c:pt idx="192">
                  <c:v>248101</c:v>
                </c:pt>
                <c:pt idx="193">
                  <c:v>248212</c:v>
                </c:pt>
                <c:pt idx="194">
                  <c:v>248310</c:v>
                </c:pt>
                <c:pt idx="195">
                  <c:v>248723</c:v>
                </c:pt>
                <c:pt idx="196">
                  <c:v>249170</c:v>
                </c:pt>
                <c:pt idx="197">
                  <c:v>249613</c:v>
                </c:pt>
                <c:pt idx="198">
                  <c:v>249780</c:v>
                </c:pt>
                <c:pt idx="199">
                  <c:v>249901</c:v>
                </c:pt>
                <c:pt idx="200">
                  <c:v>250347</c:v>
                </c:pt>
                <c:pt idx="201">
                  <c:v>250793</c:v>
                </c:pt>
                <c:pt idx="202">
                  <c:v>251278</c:v>
                </c:pt>
                <c:pt idx="203">
                  <c:v>251772</c:v>
                </c:pt>
                <c:pt idx="204">
                  <c:v>252259</c:v>
                </c:pt>
                <c:pt idx="205">
                  <c:v>252440</c:v>
                </c:pt>
                <c:pt idx="206">
                  <c:v>252586</c:v>
                </c:pt>
                <c:pt idx="207">
                  <c:v>253007</c:v>
                </c:pt>
                <c:pt idx="208">
                  <c:v>253361</c:v>
                </c:pt>
                <c:pt idx="209">
                  <c:v>253829</c:v>
                </c:pt>
                <c:pt idx="210">
                  <c:v>254225</c:v>
                </c:pt>
                <c:pt idx="211">
                  <c:v>254617</c:v>
                </c:pt>
                <c:pt idx="212">
                  <c:v>254729</c:v>
                </c:pt>
                <c:pt idx="213">
                  <c:v>254818</c:v>
                </c:pt>
                <c:pt idx="214">
                  <c:v>255206</c:v>
                </c:pt>
                <c:pt idx="215">
                  <c:v>255630</c:v>
                </c:pt>
                <c:pt idx="216">
                  <c:v>255991</c:v>
                </c:pt>
                <c:pt idx="217">
                  <c:v>256327</c:v>
                </c:pt>
                <c:pt idx="218">
                  <c:v>256745</c:v>
                </c:pt>
                <c:pt idx="219">
                  <c:v>256867</c:v>
                </c:pt>
                <c:pt idx="220">
                  <c:v>256969</c:v>
                </c:pt>
                <c:pt idx="221">
                  <c:v>257251</c:v>
                </c:pt>
                <c:pt idx="222">
                  <c:v>257519</c:v>
                </c:pt>
                <c:pt idx="223">
                  <c:v>257832</c:v>
                </c:pt>
                <c:pt idx="224">
                  <c:v>258098</c:v>
                </c:pt>
                <c:pt idx="225">
                  <c:v>258379</c:v>
                </c:pt>
                <c:pt idx="226">
                  <c:v>258452</c:v>
                </c:pt>
                <c:pt idx="227">
                  <c:v>258516</c:v>
                </c:pt>
                <c:pt idx="228">
                  <c:v>258726</c:v>
                </c:pt>
                <c:pt idx="229">
                  <c:v>258935</c:v>
                </c:pt>
                <c:pt idx="230">
                  <c:v>259098</c:v>
                </c:pt>
                <c:pt idx="231">
                  <c:v>259330</c:v>
                </c:pt>
                <c:pt idx="232">
                  <c:v>259522</c:v>
                </c:pt>
                <c:pt idx="233">
                  <c:v>259579</c:v>
                </c:pt>
                <c:pt idx="234">
                  <c:v>259625</c:v>
                </c:pt>
                <c:pt idx="235">
                  <c:v>259809</c:v>
                </c:pt>
                <c:pt idx="236">
                  <c:v>259990</c:v>
                </c:pt>
                <c:pt idx="237">
                  <c:v>260153</c:v>
                </c:pt>
                <c:pt idx="238">
                  <c:v>260316</c:v>
                </c:pt>
                <c:pt idx="239">
                  <c:v>260561</c:v>
                </c:pt>
                <c:pt idx="240">
                  <c:v>260603</c:v>
                </c:pt>
                <c:pt idx="241">
                  <c:v>260636</c:v>
                </c:pt>
                <c:pt idx="242">
                  <c:v>260836</c:v>
                </c:pt>
                <c:pt idx="243">
                  <c:v>261028</c:v>
                </c:pt>
                <c:pt idx="244">
                  <c:v>261194</c:v>
                </c:pt>
                <c:pt idx="245">
                  <c:v>261356</c:v>
                </c:pt>
                <c:pt idx="246">
                  <c:v>261573</c:v>
                </c:pt>
                <c:pt idx="247">
                  <c:v>261617</c:v>
                </c:pt>
                <c:pt idx="248">
                  <c:v>261650</c:v>
                </c:pt>
                <c:pt idx="249">
                  <c:v>261820</c:v>
                </c:pt>
                <c:pt idx="250">
                  <c:v>261984</c:v>
                </c:pt>
                <c:pt idx="251">
                  <c:v>262106</c:v>
                </c:pt>
                <c:pt idx="252">
                  <c:v>262281</c:v>
                </c:pt>
                <c:pt idx="253">
                  <c:v>262477</c:v>
                </c:pt>
                <c:pt idx="254">
                  <c:v>262512</c:v>
                </c:pt>
                <c:pt idx="255">
                  <c:v>262545</c:v>
                </c:pt>
                <c:pt idx="256">
                  <c:v>262681</c:v>
                </c:pt>
                <c:pt idx="257">
                  <c:v>262771</c:v>
                </c:pt>
                <c:pt idx="258">
                  <c:v>262894</c:v>
                </c:pt>
                <c:pt idx="259">
                  <c:v>263036</c:v>
                </c:pt>
                <c:pt idx="260">
                  <c:v>263181</c:v>
                </c:pt>
                <c:pt idx="261">
                  <c:v>263215</c:v>
                </c:pt>
                <c:pt idx="262">
                  <c:v>263238</c:v>
                </c:pt>
                <c:pt idx="263">
                  <c:v>263349</c:v>
                </c:pt>
                <c:pt idx="264">
                  <c:v>263481</c:v>
                </c:pt>
                <c:pt idx="265">
                  <c:v>263588</c:v>
                </c:pt>
                <c:pt idx="266">
                  <c:v>263709</c:v>
                </c:pt>
                <c:pt idx="267">
                  <c:v>263874</c:v>
                </c:pt>
                <c:pt idx="268">
                  <c:v>263915</c:v>
                </c:pt>
                <c:pt idx="269">
                  <c:v>263927</c:v>
                </c:pt>
                <c:pt idx="270">
                  <c:v>264029</c:v>
                </c:pt>
                <c:pt idx="271">
                  <c:v>264133</c:v>
                </c:pt>
                <c:pt idx="272">
                  <c:v>264228</c:v>
                </c:pt>
                <c:pt idx="273">
                  <c:v>264361</c:v>
                </c:pt>
                <c:pt idx="274">
                  <c:v>264528</c:v>
                </c:pt>
                <c:pt idx="275">
                  <c:v>264560</c:v>
                </c:pt>
                <c:pt idx="276">
                  <c:v>264570</c:v>
                </c:pt>
                <c:pt idx="277">
                  <c:v>264668</c:v>
                </c:pt>
                <c:pt idx="278">
                  <c:v>264676</c:v>
                </c:pt>
                <c:pt idx="279">
                  <c:v>264761</c:v>
                </c:pt>
                <c:pt idx="280">
                  <c:v>264861</c:v>
                </c:pt>
                <c:pt idx="281">
                  <c:v>264953</c:v>
                </c:pt>
                <c:pt idx="282">
                  <c:v>264974</c:v>
                </c:pt>
                <c:pt idx="283">
                  <c:v>264988</c:v>
                </c:pt>
                <c:pt idx="284">
                  <c:v>265056</c:v>
                </c:pt>
                <c:pt idx="285">
                  <c:v>265137</c:v>
                </c:pt>
                <c:pt idx="286">
                  <c:v>265234</c:v>
                </c:pt>
                <c:pt idx="287">
                  <c:v>265304</c:v>
                </c:pt>
                <c:pt idx="288">
                  <c:v>265416</c:v>
                </c:pt>
                <c:pt idx="289">
                  <c:v>265441</c:v>
                </c:pt>
                <c:pt idx="290">
                  <c:v>265453</c:v>
                </c:pt>
                <c:pt idx="291">
                  <c:v>265529</c:v>
                </c:pt>
                <c:pt idx="292">
                  <c:v>265613</c:v>
                </c:pt>
                <c:pt idx="293">
                  <c:v>265692</c:v>
                </c:pt>
                <c:pt idx="294">
                  <c:v>265759</c:v>
                </c:pt>
                <c:pt idx="295">
                  <c:v>265876</c:v>
                </c:pt>
                <c:pt idx="296">
                  <c:v>265906</c:v>
                </c:pt>
                <c:pt idx="297">
                  <c:v>265936</c:v>
                </c:pt>
                <c:pt idx="298">
                  <c:v>266066</c:v>
                </c:pt>
                <c:pt idx="299">
                  <c:v>266159</c:v>
                </c:pt>
                <c:pt idx="300">
                  <c:v>266291</c:v>
                </c:pt>
                <c:pt idx="301">
                  <c:v>266528</c:v>
                </c:pt>
                <c:pt idx="302">
                  <c:v>266832</c:v>
                </c:pt>
                <c:pt idx="303">
                  <c:v>266915</c:v>
                </c:pt>
                <c:pt idx="304">
                  <c:v>266980</c:v>
                </c:pt>
                <c:pt idx="305">
                  <c:v>267242</c:v>
                </c:pt>
                <c:pt idx="306">
                  <c:v>267597</c:v>
                </c:pt>
                <c:pt idx="307">
                  <c:v>268011</c:v>
                </c:pt>
                <c:pt idx="308">
                  <c:v>268093</c:v>
                </c:pt>
                <c:pt idx="309">
                  <c:v>268468</c:v>
                </c:pt>
                <c:pt idx="310">
                  <c:v>268576</c:v>
                </c:pt>
                <c:pt idx="311">
                  <c:v>268644</c:v>
                </c:pt>
                <c:pt idx="312">
                  <c:v>269055</c:v>
                </c:pt>
                <c:pt idx="313">
                  <c:v>269459</c:v>
                </c:pt>
                <c:pt idx="314">
                  <c:v>269869</c:v>
                </c:pt>
                <c:pt idx="315">
                  <c:v>270364</c:v>
                </c:pt>
                <c:pt idx="316">
                  <c:v>270923</c:v>
                </c:pt>
                <c:pt idx="317">
                  <c:v>271075</c:v>
                </c:pt>
                <c:pt idx="318">
                  <c:v>271171</c:v>
                </c:pt>
                <c:pt idx="319">
                  <c:v>271564</c:v>
                </c:pt>
                <c:pt idx="320">
                  <c:v>271898</c:v>
                </c:pt>
                <c:pt idx="321">
                  <c:v>272283</c:v>
                </c:pt>
                <c:pt idx="322">
                  <c:v>272676</c:v>
                </c:pt>
                <c:pt idx="323">
                  <c:v>273203</c:v>
                </c:pt>
                <c:pt idx="324">
                  <c:v>273326</c:v>
                </c:pt>
                <c:pt idx="325">
                  <c:v>273411</c:v>
                </c:pt>
                <c:pt idx="326">
                  <c:v>273826</c:v>
                </c:pt>
                <c:pt idx="327">
                  <c:v>274294</c:v>
                </c:pt>
                <c:pt idx="328">
                  <c:v>274397</c:v>
                </c:pt>
                <c:pt idx="329">
                  <c:v>274903</c:v>
                </c:pt>
                <c:pt idx="330">
                  <c:v>275509</c:v>
                </c:pt>
                <c:pt idx="331">
                  <c:v>275703</c:v>
                </c:pt>
                <c:pt idx="332">
                  <c:v>275845</c:v>
                </c:pt>
                <c:pt idx="333">
                  <c:v>276252</c:v>
                </c:pt>
                <c:pt idx="334">
                  <c:v>276664</c:v>
                </c:pt>
                <c:pt idx="335">
                  <c:v>277109</c:v>
                </c:pt>
                <c:pt idx="336">
                  <c:v>2775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ry</c:v>
                </c:pt>
              </c:strCache>
            </c:strRef>
          </c:tx>
          <c:spPr>
            <a:ln w="28575" cap="rnd">
              <a:solidFill>
                <a:srgbClr val="ED7D31"/>
              </a:solidFill>
              <a:round/>
            </a:ln>
            <a:effectLst/>
          </c:spPr>
          <c:marker>
            <c:symbol val="none"/>
          </c:marker>
          <c:cat>
            <c:strRef>
              <c:f>List1!$F$1:$MD$1</c:f>
              <c:strCache>
                <c:ptCount val="337"/>
                <c:pt idx="0">
                  <c:v>24-XII.</c:v>
                </c:pt>
                <c:pt idx="1">
                  <c:v>25-XII.</c:v>
                </c:pt>
                <c:pt idx="2">
                  <c:v>26-XII.</c:v>
                </c:pt>
                <c:pt idx="3">
                  <c:v>27-XII.</c:v>
                </c:pt>
                <c:pt idx="4">
                  <c:v>28-XII.</c:v>
                </c:pt>
                <c:pt idx="5">
                  <c:v>29-XII.</c:v>
                </c:pt>
                <c:pt idx="6">
                  <c:v>30-XII.</c:v>
                </c:pt>
                <c:pt idx="7">
                  <c:v>31-XII.</c:v>
                </c:pt>
                <c:pt idx="8">
                  <c:v>1-I.</c:v>
                </c:pt>
                <c:pt idx="9">
                  <c:v>2-I.</c:v>
                </c:pt>
                <c:pt idx="10">
                  <c:v>3-I.</c:v>
                </c:pt>
                <c:pt idx="11">
                  <c:v>4-I.</c:v>
                </c:pt>
                <c:pt idx="12">
                  <c:v>5-I.</c:v>
                </c:pt>
                <c:pt idx="13">
                  <c:v>6-I.</c:v>
                </c:pt>
                <c:pt idx="14">
                  <c:v>7-I.</c:v>
                </c:pt>
                <c:pt idx="15">
                  <c:v>8-I.</c:v>
                </c:pt>
                <c:pt idx="16">
                  <c:v>9-I.</c:v>
                </c:pt>
                <c:pt idx="17">
                  <c:v>10-I.</c:v>
                </c:pt>
                <c:pt idx="18">
                  <c:v>11-I.</c:v>
                </c:pt>
                <c:pt idx="19">
                  <c:v>12-I.</c:v>
                </c:pt>
                <c:pt idx="20">
                  <c:v>13-I.</c:v>
                </c:pt>
                <c:pt idx="21">
                  <c:v>14-I.</c:v>
                </c:pt>
                <c:pt idx="22">
                  <c:v>15-I.</c:v>
                </c:pt>
                <c:pt idx="23">
                  <c:v>16-I.</c:v>
                </c:pt>
                <c:pt idx="24">
                  <c:v>17-I.</c:v>
                </c:pt>
                <c:pt idx="25">
                  <c:v>18-I.</c:v>
                </c:pt>
                <c:pt idx="26">
                  <c:v>19-I.</c:v>
                </c:pt>
                <c:pt idx="27">
                  <c:v>20-I.</c:v>
                </c:pt>
                <c:pt idx="28">
                  <c:v>21-I.</c:v>
                </c:pt>
                <c:pt idx="29">
                  <c:v>22-I.</c:v>
                </c:pt>
                <c:pt idx="30">
                  <c:v>23-I.</c:v>
                </c:pt>
                <c:pt idx="31">
                  <c:v>24-I.</c:v>
                </c:pt>
                <c:pt idx="32">
                  <c:v>25-I.</c:v>
                </c:pt>
                <c:pt idx="33">
                  <c:v>26-I.</c:v>
                </c:pt>
                <c:pt idx="34">
                  <c:v>27-I.</c:v>
                </c:pt>
                <c:pt idx="35">
                  <c:v>28-I.</c:v>
                </c:pt>
                <c:pt idx="36">
                  <c:v>29-I.</c:v>
                </c:pt>
                <c:pt idx="37">
                  <c:v>30-I.</c:v>
                </c:pt>
                <c:pt idx="38">
                  <c:v>31-I.</c:v>
                </c:pt>
                <c:pt idx="39">
                  <c:v>1-II.</c:v>
                </c:pt>
                <c:pt idx="40">
                  <c:v>2-II.</c:v>
                </c:pt>
                <c:pt idx="41">
                  <c:v>3-II.</c:v>
                </c:pt>
                <c:pt idx="42">
                  <c:v>4-II.</c:v>
                </c:pt>
                <c:pt idx="43">
                  <c:v>5-II.</c:v>
                </c:pt>
                <c:pt idx="44">
                  <c:v>6-II.</c:v>
                </c:pt>
                <c:pt idx="45">
                  <c:v>7-II.</c:v>
                </c:pt>
                <c:pt idx="46">
                  <c:v>8-II.</c:v>
                </c:pt>
                <c:pt idx="47">
                  <c:v>9-II.</c:v>
                </c:pt>
                <c:pt idx="48">
                  <c:v>10-II.</c:v>
                </c:pt>
                <c:pt idx="49">
                  <c:v>11-II.</c:v>
                </c:pt>
                <c:pt idx="50">
                  <c:v>12-II.</c:v>
                </c:pt>
                <c:pt idx="51">
                  <c:v>13-II.</c:v>
                </c:pt>
                <c:pt idx="52">
                  <c:v>14-II.</c:v>
                </c:pt>
                <c:pt idx="53">
                  <c:v>15-II.</c:v>
                </c:pt>
                <c:pt idx="54">
                  <c:v>16-II.</c:v>
                </c:pt>
                <c:pt idx="55">
                  <c:v>17-II.</c:v>
                </c:pt>
                <c:pt idx="56">
                  <c:v>18-II.</c:v>
                </c:pt>
                <c:pt idx="57">
                  <c:v>19-II.</c:v>
                </c:pt>
                <c:pt idx="58">
                  <c:v>20-II.</c:v>
                </c:pt>
                <c:pt idx="59">
                  <c:v>21-II.</c:v>
                </c:pt>
                <c:pt idx="60">
                  <c:v>22-II.</c:v>
                </c:pt>
                <c:pt idx="61">
                  <c:v>23-II.</c:v>
                </c:pt>
                <c:pt idx="62">
                  <c:v>24-II.</c:v>
                </c:pt>
                <c:pt idx="63">
                  <c:v>25-II.</c:v>
                </c:pt>
                <c:pt idx="64">
                  <c:v>26-II.</c:v>
                </c:pt>
                <c:pt idx="65">
                  <c:v>27-II.</c:v>
                </c:pt>
                <c:pt idx="66">
                  <c:v>28-II.</c:v>
                </c:pt>
                <c:pt idx="67">
                  <c:v>1-III.</c:v>
                </c:pt>
                <c:pt idx="68">
                  <c:v>2-III.</c:v>
                </c:pt>
                <c:pt idx="69">
                  <c:v>3-III.</c:v>
                </c:pt>
                <c:pt idx="70">
                  <c:v>4-III.</c:v>
                </c:pt>
                <c:pt idx="71">
                  <c:v>5-III.</c:v>
                </c:pt>
                <c:pt idx="72">
                  <c:v>6-III.</c:v>
                </c:pt>
                <c:pt idx="73">
                  <c:v>7-III.</c:v>
                </c:pt>
                <c:pt idx="74">
                  <c:v>8-III.</c:v>
                </c:pt>
                <c:pt idx="75">
                  <c:v>9-III.</c:v>
                </c:pt>
                <c:pt idx="76">
                  <c:v>10-III.</c:v>
                </c:pt>
                <c:pt idx="77">
                  <c:v>11-III.</c:v>
                </c:pt>
                <c:pt idx="78">
                  <c:v>12-III.</c:v>
                </c:pt>
                <c:pt idx="79">
                  <c:v>13-III.</c:v>
                </c:pt>
                <c:pt idx="80">
                  <c:v>14-III.</c:v>
                </c:pt>
                <c:pt idx="81">
                  <c:v>15-III.</c:v>
                </c:pt>
                <c:pt idx="82">
                  <c:v>16-III.</c:v>
                </c:pt>
                <c:pt idx="83">
                  <c:v>17-III.</c:v>
                </c:pt>
                <c:pt idx="84">
                  <c:v>18-III.</c:v>
                </c:pt>
                <c:pt idx="85">
                  <c:v>19-III.</c:v>
                </c:pt>
                <c:pt idx="86">
                  <c:v>20-III.</c:v>
                </c:pt>
                <c:pt idx="87">
                  <c:v>21-III.</c:v>
                </c:pt>
                <c:pt idx="88">
                  <c:v>22-III.</c:v>
                </c:pt>
                <c:pt idx="89">
                  <c:v>23-III.</c:v>
                </c:pt>
                <c:pt idx="90">
                  <c:v>24-III.</c:v>
                </c:pt>
                <c:pt idx="91">
                  <c:v>25-III.</c:v>
                </c:pt>
                <c:pt idx="92">
                  <c:v>26-III.</c:v>
                </c:pt>
                <c:pt idx="93">
                  <c:v>27-III.</c:v>
                </c:pt>
                <c:pt idx="94">
                  <c:v>28-III.</c:v>
                </c:pt>
                <c:pt idx="95">
                  <c:v>29-III.</c:v>
                </c:pt>
                <c:pt idx="96">
                  <c:v>30-III.</c:v>
                </c:pt>
                <c:pt idx="97">
                  <c:v>31-III.</c:v>
                </c:pt>
                <c:pt idx="98">
                  <c:v>1-IV.</c:v>
                </c:pt>
                <c:pt idx="99">
                  <c:v>2-IV.</c:v>
                </c:pt>
                <c:pt idx="100">
                  <c:v>3-IV.</c:v>
                </c:pt>
                <c:pt idx="101">
                  <c:v>4-IV.</c:v>
                </c:pt>
                <c:pt idx="102">
                  <c:v>5-IV.</c:v>
                </c:pt>
                <c:pt idx="103">
                  <c:v>6-IV.</c:v>
                </c:pt>
                <c:pt idx="104">
                  <c:v>7-IV.</c:v>
                </c:pt>
                <c:pt idx="105">
                  <c:v>8-IV.</c:v>
                </c:pt>
                <c:pt idx="106">
                  <c:v>9-IV.</c:v>
                </c:pt>
                <c:pt idx="107">
                  <c:v>10-IV.</c:v>
                </c:pt>
                <c:pt idx="108">
                  <c:v>11-IV.</c:v>
                </c:pt>
                <c:pt idx="109">
                  <c:v>12-IV.</c:v>
                </c:pt>
                <c:pt idx="110">
                  <c:v>13-IV.</c:v>
                </c:pt>
                <c:pt idx="111">
                  <c:v>14-IV.</c:v>
                </c:pt>
                <c:pt idx="112">
                  <c:v>15-IV.</c:v>
                </c:pt>
                <c:pt idx="113">
                  <c:v>16-IV.</c:v>
                </c:pt>
                <c:pt idx="114">
                  <c:v>17-IV.</c:v>
                </c:pt>
                <c:pt idx="115">
                  <c:v>18-IV.</c:v>
                </c:pt>
                <c:pt idx="116">
                  <c:v>19-IV.</c:v>
                </c:pt>
                <c:pt idx="117">
                  <c:v>20-IV.</c:v>
                </c:pt>
                <c:pt idx="118">
                  <c:v>21-IV.</c:v>
                </c:pt>
                <c:pt idx="119">
                  <c:v>22-IV.</c:v>
                </c:pt>
                <c:pt idx="120">
                  <c:v>23-IV.</c:v>
                </c:pt>
                <c:pt idx="121">
                  <c:v>24-IV.</c:v>
                </c:pt>
                <c:pt idx="122">
                  <c:v>25-IV.</c:v>
                </c:pt>
                <c:pt idx="123">
                  <c:v>26-IV.</c:v>
                </c:pt>
                <c:pt idx="124">
                  <c:v>27-IV.</c:v>
                </c:pt>
                <c:pt idx="125">
                  <c:v>28-IV.</c:v>
                </c:pt>
                <c:pt idx="126">
                  <c:v>29-IV.</c:v>
                </c:pt>
                <c:pt idx="127">
                  <c:v>30-IV.</c:v>
                </c:pt>
                <c:pt idx="128">
                  <c:v>1-V.</c:v>
                </c:pt>
                <c:pt idx="129">
                  <c:v>2-V.</c:v>
                </c:pt>
                <c:pt idx="130">
                  <c:v>3-V.</c:v>
                </c:pt>
                <c:pt idx="131">
                  <c:v>4-V.</c:v>
                </c:pt>
                <c:pt idx="132">
                  <c:v>5-V.</c:v>
                </c:pt>
                <c:pt idx="133">
                  <c:v>6-V.</c:v>
                </c:pt>
                <c:pt idx="134">
                  <c:v>7-V.</c:v>
                </c:pt>
                <c:pt idx="135">
                  <c:v>8-V.</c:v>
                </c:pt>
                <c:pt idx="136">
                  <c:v>9-V.</c:v>
                </c:pt>
                <c:pt idx="137">
                  <c:v>10-V.</c:v>
                </c:pt>
                <c:pt idx="138">
                  <c:v>11-V.</c:v>
                </c:pt>
                <c:pt idx="139">
                  <c:v>12-V.</c:v>
                </c:pt>
                <c:pt idx="140">
                  <c:v>13-V.</c:v>
                </c:pt>
                <c:pt idx="141">
                  <c:v>14-V.</c:v>
                </c:pt>
                <c:pt idx="142">
                  <c:v>15-V.</c:v>
                </c:pt>
                <c:pt idx="143">
                  <c:v>16-V.</c:v>
                </c:pt>
                <c:pt idx="144">
                  <c:v>17-V.</c:v>
                </c:pt>
                <c:pt idx="145">
                  <c:v>18-V.</c:v>
                </c:pt>
                <c:pt idx="146">
                  <c:v>19-V.</c:v>
                </c:pt>
                <c:pt idx="147">
                  <c:v>20-V.</c:v>
                </c:pt>
                <c:pt idx="148">
                  <c:v>21-V.</c:v>
                </c:pt>
                <c:pt idx="149">
                  <c:v>22-V.</c:v>
                </c:pt>
                <c:pt idx="150">
                  <c:v>23-V.</c:v>
                </c:pt>
                <c:pt idx="151">
                  <c:v>24-V.</c:v>
                </c:pt>
                <c:pt idx="152">
                  <c:v>25-V.</c:v>
                </c:pt>
                <c:pt idx="153">
                  <c:v>26-V.</c:v>
                </c:pt>
                <c:pt idx="154">
                  <c:v>27-V.</c:v>
                </c:pt>
                <c:pt idx="155">
                  <c:v>28-V.</c:v>
                </c:pt>
                <c:pt idx="156">
                  <c:v>29-V.</c:v>
                </c:pt>
                <c:pt idx="157">
                  <c:v>30-V.</c:v>
                </c:pt>
                <c:pt idx="158">
                  <c:v>31-V.</c:v>
                </c:pt>
                <c:pt idx="159">
                  <c:v>1-VI.</c:v>
                </c:pt>
                <c:pt idx="160">
                  <c:v>2-VI.</c:v>
                </c:pt>
                <c:pt idx="161">
                  <c:v>3-VI.</c:v>
                </c:pt>
                <c:pt idx="162">
                  <c:v>4-VI.</c:v>
                </c:pt>
                <c:pt idx="163">
                  <c:v>5-VI.</c:v>
                </c:pt>
                <c:pt idx="164">
                  <c:v>6-VI.</c:v>
                </c:pt>
                <c:pt idx="165">
                  <c:v>7-VI.</c:v>
                </c:pt>
                <c:pt idx="166">
                  <c:v>8-VI.</c:v>
                </c:pt>
                <c:pt idx="167">
                  <c:v>9-VI.</c:v>
                </c:pt>
                <c:pt idx="168">
                  <c:v>10-VI.</c:v>
                </c:pt>
                <c:pt idx="169">
                  <c:v>11-VI.</c:v>
                </c:pt>
                <c:pt idx="170">
                  <c:v>12-VI.</c:v>
                </c:pt>
                <c:pt idx="171">
                  <c:v>13-VI.</c:v>
                </c:pt>
                <c:pt idx="172">
                  <c:v>14-VI.</c:v>
                </c:pt>
                <c:pt idx="173">
                  <c:v>15-VI.</c:v>
                </c:pt>
                <c:pt idx="174">
                  <c:v>16-VI.</c:v>
                </c:pt>
                <c:pt idx="175">
                  <c:v>17-VI.</c:v>
                </c:pt>
                <c:pt idx="176">
                  <c:v>18-VI.</c:v>
                </c:pt>
                <c:pt idx="177">
                  <c:v>19-VI.</c:v>
                </c:pt>
                <c:pt idx="178">
                  <c:v>20-VI.</c:v>
                </c:pt>
                <c:pt idx="179">
                  <c:v>21-VI.</c:v>
                </c:pt>
                <c:pt idx="180">
                  <c:v>22-VI.</c:v>
                </c:pt>
                <c:pt idx="181">
                  <c:v>23-VI.</c:v>
                </c:pt>
                <c:pt idx="182">
                  <c:v>24-VI.</c:v>
                </c:pt>
                <c:pt idx="183">
                  <c:v>25-VI.</c:v>
                </c:pt>
                <c:pt idx="184">
                  <c:v>26-VI.</c:v>
                </c:pt>
                <c:pt idx="185">
                  <c:v>27-VI.</c:v>
                </c:pt>
                <c:pt idx="186">
                  <c:v>28-VI.</c:v>
                </c:pt>
                <c:pt idx="187">
                  <c:v>29-VI.</c:v>
                </c:pt>
                <c:pt idx="188">
                  <c:v>30-VI.</c:v>
                </c:pt>
                <c:pt idx="189">
                  <c:v>1-VII.</c:v>
                </c:pt>
                <c:pt idx="190">
                  <c:v>2-VII.</c:v>
                </c:pt>
                <c:pt idx="191">
                  <c:v>3-VII.</c:v>
                </c:pt>
                <c:pt idx="192">
                  <c:v>4-VII.</c:v>
                </c:pt>
                <c:pt idx="193">
                  <c:v>5-VII.</c:v>
                </c:pt>
                <c:pt idx="194">
                  <c:v>6-VII.</c:v>
                </c:pt>
                <c:pt idx="195">
                  <c:v>7-VII.</c:v>
                </c:pt>
                <c:pt idx="196">
                  <c:v>8-VII.</c:v>
                </c:pt>
                <c:pt idx="197">
                  <c:v>9-VII.</c:v>
                </c:pt>
                <c:pt idx="198">
                  <c:v>10-VII.</c:v>
                </c:pt>
                <c:pt idx="199">
                  <c:v>11-VII.</c:v>
                </c:pt>
                <c:pt idx="200">
                  <c:v>12-VII.</c:v>
                </c:pt>
                <c:pt idx="201">
                  <c:v>13-VII.</c:v>
                </c:pt>
                <c:pt idx="202">
                  <c:v>14-VII.</c:v>
                </c:pt>
                <c:pt idx="203">
                  <c:v>15-VII.</c:v>
                </c:pt>
                <c:pt idx="204">
                  <c:v>16-VII.</c:v>
                </c:pt>
                <c:pt idx="205">
                  <c:v>17-VII.</c:v>
                </c:pt>
                <c:pt idx="206">
                  <c:v>18-VII.</c:v>
                </c:pt>
                <c:pt idx="207">
                  <c:v>19-VII.</c:v>
                </c:pt>
                <c:pt idx="208">
                  <c:v>20-VII.</c:v>
                </c:pt>
                <c:pt idx="209">
                  <c:v>21-VII.</c:v>
                </c:pt>
                <c:pt idx="210">
                  <c:v>22-VII.</c:v>
                </c:pt>
                <c:pt idx="211">
                  <c:v>23-VII.</c:v>
                </c:pt>
                <c:pt idx="212">
                  <c:v>24-VII.</c:v>
                </c:pt>
                <c:pt idx="213">
                  <c:v>25-VII.</c:v>
                </c:pt>
                <c:pt idx="214">
                  <c:v>26-VII.</c:v>
                </c:pt>
                <c:pt idx="215">
                  <c:v>27-VII.</c:v>
                </c:pt>
                <c:pt idx="216">
                  <c:v>28-VII.</c:v>
                </c:pt>
                <c:pt idx="217">
                  <c:v>29-VII.</c:v>
                </c:pt>
                <c:pt idx="218">
                  <c:v>30-VII.</c:v>
                </c:pt>
                <c:pt idx="219">
                  <c:v>31-VII.</c:v>
                </c:pt>
                <c:pt idx="220">
                  <c:v>1-VIII.</c:v>
                </c:pt>
                <c:pt idx="221">
                  <c:v>2-VIII.</c:v>
                </c:pt>
                <c:pt idx="222">
                  <c:v>3-VIII.</c:v>
                </c:pt>
                <c:pt idx="223">
                  <c:v>4-VIII.</c:v>
                </c:pt>
                <c:pt idx="224">
                  <c:v>5-VIII.</c:v>
                </c:pt>
                <c:pt idx="225">
                  <c:v>6-VIII.</c:v>
                </c:pt>
                <c:pt idx="226">
                  <c:v>7-VIII.</c:v>
                </c:pt>
                <c:pt idx="227">
                  <c:v>8-VIII.</c:v>
                </c:pt>
                <c:pt idx="228">
                  <c:v>9-VIII.</c:v>
                </c:pt>
                <c:pt idx="229">
                  <c:v>10-VIII.</c:v>
                </c:pt>
                <c:pt idx="230">
                  <c:v>11-VIII.</c:v>
                </c:pt>
                <c:pt idx="231">
                  <c:v>12-VIII.</c:v>
                </c:pt>
                <c:pt idx="232">
                  <c:v>13-VIII.</c:v>
                </c:pt>
                <c:pt idx="233">
                  <c:v>14-VIII.</c:v>
                </c:pt>
                <c:pt idx="234">
                  <c:v>15-VIII.</c:v>
                </c:pt>
                <c:pt idx="235">
                  <c:v>16-VIII.</c:v>
                </c:pt>
                <c:pt idx="236">
                  <c:v>17-VIII.</c:v>
                </c:pt>
                <c:pt idx="237">
                  <c:v>18-VIII.</c:v>
                </c:pt>
                <c:pt idx="238">
                  <c:v>19-VIII.</c:v>
                </c:pt>
                <c:pt idx="239">
                  <c:v>20-VIII.</c:v>
                </c:pt>
                <c:pt idx="240">
                  <c:v>21-VIII.</c:v>
                </c:pt>
                <c:pt idx="241">
                  <c:v>22-VIII.</c:v>
                </c:pt>
                <c:pt idx="242">
                  <c:v>23-VIII.</c:v>
                </c:pt>
                <c:pt idx="243">
                  <c:v>24-VIII.</c:v>
                </c:pt>
                <c:pt idx="244">
                  <c:v>25-VIII.</c:v>
                </c:pt>
                <c:pt idx="245">
                  <c:v>26-VIII.</c:v>
                </c:pt>
                <c:pt idx="246">
                  <c:v>27-VIII.</c:v>
                </c:pt>
                <c:pt idx="247">
                  <c:v>28-VIII.</c:v>
                </c:pt>
                <c:pt idx="248">
                  <c:v>29-VIII.</c:v>
                </c:pt>
                <c:pt idx="249">
                  <c:v>30-VIII.</c:v>
                </c:pt>
                <c:pt idx="250">
                  <c:v>31-VIII.</c:v>
                </c:pt>
                <c:pt idx="251">
                  <c:v>1-IX.</c:v>
                </c:pt>
                <c:pt idx="252">
                  <c:v>2-IX.</c:v>
                </c:pt>
                <c:pt idx="253">
                  <c:v>3-IX.</c:v>
                </c:pt>
                <c:pt idx="254">
                  <c:v>4-IX.</c:v>
                </c:pt>
                <c:pt idx="255">
                  <c:v>5-IX.</c:v>
                </c:pt>
                <c:pt idx="256">
                  <c:v>6-IX.</c:v>
                </c:pt>
                <c:pt idx="257">
                  <c:v>7-IX.</c:v>
                </c:pt>
                <c:pt idx="258">
                  <c:v>8-IX.</c:v>
                </c:pt>
                <c:pt idx="259">
                  <c:v>9-IX.</c:v>
                </c:pt>
                <c:pt idx="260">
                  <c:v>10-IX.</c:v>
                </c:pt>
                <c:pt idx="261">
                  <c:v>11-IX.</c:v>
                </c:pt>
                <c:pt idx="262">
                  <c:v>12-IX.</c:v>
                </c:pt>
                <c:pt idx="263">
                  <c:v>13-IX.</c:v>
                </c:pt>
                <c:pt idx="264">
                  <c:v>14-IX.</c:v>
                </c:pt>
                <c:pt idx="265">
                  <c:v>15-IX.</c:v>
                </c:pt>
                <c:pt idx="266">
                  <c:v>16-IX.</c:v>
                </c:pt>
                <c:pt idx="267">
                  <c:v>17-IX.</c:v>
                </c:pt>
                <c:pt idx="268">
                  <c:v>18-IX.</c:v>
                </c:pt>
                <c:pt idx="269">
                  <c:v>19-IX.</c:v>
                </c:pt>
                <c:pt idx="270">
                  <c:v>20-IX.</c:v>
                </c:pt>
                <c:pt idx="271">
                  <c:v>21-IX.</c:v>
                </c:pt>
                <c:pt idx="272">
                  <c:v>22-IX.</c:v>
                </c:pt>
                <c:pt idx="273">
                  <c:v>23-IX.</c:v>
                </c:pt>
                <c:pt idx="274">
                  <c:v>24-IX.</c:v>
                </c:pt>
                <c:pt idx="275">
                  <c:v>25-IX.</c:v>
                </c:pt>
                <c:pt idx="276">
                  <c:v>26-IX.</c:v>
                </c:pt>
                <c:pt idx="277">
                  <c:v>27-IX.</c:v>
                </c:pt>
                <c:pt idx="278">
                  <c:v>28-IX.</c:v>
                </c:pt>
                <c:pt idx="279">
                  <c:v>29-IX.</c:v>
                </c:pt>
                <c:pt idx="280">
                  <c:v>30-IX.</c:v>
                </c:pt>
                <c:pt idx="281">
                  <c:v>1-X.</c:v>
                </c:pt>
                <c:pt idx="282">
                  <c:v>2-X.</c:v>
                </c:pt>
                <c:pt idx="283">
                  <c:v>3-X.</c:v>
                </c:pt>
                <c:pt idx="284">
                  <c:v>4-X.</c:v>
                </c:pt>
                <c:pt idx="285">
                  <c:v>5-X.</c:v>
                </c:pt>
                <c:pt idx="286">
                  <c:v>6-X.</c:v>
                </c:pt>
                <c:pt idx="287">
                  <c:v>7-X.</c:v>
                </c:pt>
                <c:pt idx="288">
                  <c:v>8-X.</c:v>
                </c:pt>
                <c:pt idx="289">
                  <c:v>9-X.</c:v>
                </c:pt>
                <c:pt idx="290">
                  <c:v>10-X.</c:v>
                </c:pt>
                <c:pt idx="291">
                  <c:v>11-X.</c:v>
                </c:pt>
                <c:pt idx="292">
                  <c:v>12-X.</c:v>
                </c:pt>
                <c:pt idx="293">
                  <c:v>13-X.</c:v>
                </c:pt>
                <c:pt idx="294">
                  <c:v>14-X.</c:v>
                </c:pt>
                <c:pt idx="295">
                  <c:v>15-X.</c:v>
                </c:pt>
                <c:pt idx="296">
                  <c:v>16-X.</c:v>
                </c:pt>
                <c:pt idx="297">
                  <c:v>17-X.</c:v>
                </c:pt>
                <c:pt idx="298">
                  <c:v>18-X.</c:v>
                </c:pt>
                <c:pt idx="299">
                  <c:v>19-X.</c:v>
                </c:pt>
                <c:pt idx="300">
                  <c:v>20-X.</c:v>
                </c:pt>
                <c:pt idx="301">
                  <c:v>21-X.</c:v>
                </c:pt>
                <c:pt idx="302">
                  <c:v>22-X.</c:v>
                </c:pt>
                <c:pt idx="303">
                  <c:v>23-X.</c:v>
                </c:pt>
                <c:pt idx="304">
                  <c:v>24-X.</c:v>
                </c:pt>
                <c:pt idx="305">
                  <c:v>25-X.</c:v>
                </c:pt>
                <c:pt idx="306">
                  <c:v>26-X.</c:v>
                </c:pt>
                <c:pt idx="307">
                  <c:v>27-X.</c:v>
                </c:pt>
                <c:pt idx="308">
                  <c:v>28-X.</c:v>
                </c:pt>
                <c:pt idx="309">
                  <c:v>29-X.</c:v>
                </c:pt>
                <c:pt idx="310">
                  <c:v>30-X.</c:v>
                </c:pt>
                <c:pt idx="311">
                  <c:v>31-X.</c:v>
                </c:pt>
                <c:pt idx="312">
                  <c:v>1-XI.</c:v>
                </c:pt>
                <c:pt idx="313">
                  <c:v>2-XI.</c:v>
                </c:pt>
                <c:pt idx="314">
                  <c:v>3-XI.</c:v>
                </c:pt>
                <c:pt idx="315">
                  <c:v>4-XI.</c:v>
                </c:pt>
                <c:pt idx="316">
                  <c:v>5-XI.</c:v>
                </c:pt>
                <c:pt idx="317">
                  <c:v>6-XI.</c:v>
                </c:pt>
                <c:pt idx="318">
                  <c:v>7-XI.</c:v>
                </c:pt>
                <c:pt idx="319">
                  <c:v>8-XI.</c:v>
                </c:pt>
                <c:pt idx="320">
                  <c:v>9-XI.</c:v>
                </c:pt>
                <c:pt idx="321">
                  <c:v>10-XI.</c:v>
                </c:pt>
                <c:pt idx="322">
                  <c:v>11-XI.</c:v>
                </c:pt>
                <c:pt idx="323">
                  <c:v>12-XI.</c:v>
                </c:pt>
                <c:pt idx="324">
                  <c:v>13-XI.</c:v>
                </c:pt>
                <c:pt idx="325">
                  <c:v>14-XI.</c:v>
                </c:pt>
                <c:pt idx="326">
                  <c:v>15-XI.</c:v>
                </c:pt>
                <c:pt idx="327">
                  <c:v>16-XI.</c:v>
                </c:pt>
                <c:pt idx="328">
                  <c:v>17-XI.</c:v>
                </c:pt>
                <c:pt idx="329">
                  <c:v>18-XI.</c:v>
                </c:pt>
                <c:pt idx="330">
                  <c:v>19-XI.</c:v>
                </c:pt>
                <c:pt idx="331">
                  <c:v>20-XI.</c:v>
                </c:pt>
                <c:pt idx="332">
                  <c:v>21-XI.</c:v>
                </c:pt>
                <c:pt idx="333">
                  <c:v>22-XI.</c:v>
                </c:pt>
                <c:pt idx="334">
                  <c:v>23-XI.</c:v>
                </c:pt>
                <c:pt idx="335">
                  <c:v>24-XI.</c:v>
                </c:pt>
                <c:pt idx="336">
                  <c:v>25-XI.</c:v>
                </c:pt>
              </c:strCache>
            </c:strRef>
          </c:cat>
          <c:val>
            <c:numRef>
              <c:f>List1!$F$3:$MD$3</c:f>
              <c:numCache>
                <c:formatCode>General</c:formatCode>
                <c:ptCount val="337"/>
                <c:pt idx="3">
                  <c:v>410</c:v>
                </c:pt>
                <c:pt idx="4">
                  <c:v>1124</c:v>
                </c:pt>
                <c:pt idx="5">
                  <c:v>2235</c:v>
                </c:pt>
                <c:pt idx="6">
                  <c:v>3371</c:v>
                </c:pt>
                <c:pt idx="7">
                  <c:v>3750</c:v>
                </c:pt>
                <c:pt idx="8">
                  <c:v>3869</c:v>
                </c:pt>
                <c:pt idx="9">
                  <c:v>4350</c:v>
                </c:pt>
                <c:pt idx="10">
                  <c:v>4667</c:v>
                </c:pt>
                <c:pt idx="11">
                  <c:v>6016</c:v>
                </c:pt>
                <c:pt idx="12">
                  <c:v>7658</c:v>
                </c:pt>
                <c:pt idx="13">
                  <c:v>9668</c:v>
                </c:pt>
                <c:pt idx="14">
                  <c:v>12224</c:v>
                </c:pt>
                <c:pt idx="15">
                  <c:v>15357</c:v>
                </c:pt>
                <c:pt idx="16">
                  <c:v>15804</c:v>
                </c:pt>
                <c:pt idx="17">
                  <c:v>16158</c:v>
                </c:pt>
                <c:pt idx="18">
                  <c:v>18961</c:v>
                </c:pt>
                <c:pt idx="19">
                  <c:v>22151</c:v>
                </c:pt>
                <c:pt idx="20">
                  <c:v>25012</c:v>
                </c:pt>
                <c:pt idx="21">
                  <c:v>28202</c:v>
                </c:pt>
                <c:pt idx="22">
                  <c:v>30989</c:v>
                </c:pt>
                <c:pt idx="23">
                  <c:v>31371</c:v>
                </c:pt>
                <c:pt idx="24">
                  <c:v>31597</c:v>
                </c:pt>
                <c:pt idx="25">
                  <c:v>33552</c:v>
                </c:pt>
                <c:pt idx="26">
                  <c:v>35241</c:v>
                </c:pt>
                <c:pt idx="27">
                  <c:v>36885</c:v>
                </c:pt>
                <c:pt idx="28">
                  <c:v>38416</c:v>
                </c:pt>
                <c:pt idx="29">
                  <c:v>39727</c:v>
                </c:pt>
                <c:pt idx="30">
                  <c:v>39885</c:v>
                </c:pt>
                <c:pt idx="31">
                  <c:v>39994</c:v>
                </c:pt>
                <c:pt idx="32">
                  <c:v>40639</c:v>
                </c:pt>
                <c:pt idx="33">
                  <c:v>41412</c:v>
                </c:pt>
                <c:pt idx="34">
                  <c:v>42067</c:v>
                </c:pt>
                <c:pt idx="35">
                  <c:v>42674</c:v>
                </c:pt>
                <c:pt idx="36">
                  <c:v>43237</c:v>
                </c:pt>
                <c:pt idx="37">
                  <c:v>43260</c:v>
                </c:pt>
                <c:pt idx="38">
                  <c:v>43278</c:v>
                </c:pt>
                <c:pt idx="39">
                  <c:v>43635</c:v>
                </c:pt>
                <c:pt idx="40">
                  <c:v>43977</c:v>
                </c:pt>
                <c:pt idx="41">
                  <c:v>44338</c:v>
                </c:pt>
                <c:pt idx="42">
                  <c:v>44670</c:v>
                </c:pt>
                <c:pt idx="43">
                  <c:v>45087</c:v>
                </c:pt>
                <c:pt idx="44">
                  <c:v>45109</c:v>
                </c:pt>
                <c:pt idx="45">
                  <c:v>45129</c:v>
                </c:pt>
                <c:pt idx="46">
                  <c:v>45398</c:v>
                </c:pt>
                <c:pt idx="47">
                  <c:v>45719</c:v>
                </c:pt>
                <c:pt idx="48">
                  <c:v>46122</c:v>
                </c:pt>
                <c:pt idx="49">
                  <c:v>46595</c:v>
                </c:pt>
                <c:pt idx="50">
                  <c:v>47126</c:v>
                </c:pt>
                <c:pt idx="51">
                  <c:v>47299</c:v>
                </c:pt>
                <c:pt idx="52">
                  <c:v>47353</c:v>
                </c:pt>
                <c:pt idx="53">
                  <c:v>47905</c:v>
                </c:pt>
                <c:pt idx="54">
                  <c:v>48394</c:v>
                </c:pt>
                <c:pt idx="55">
                  <c:v>48964</c:v>
                </c:pt>
                <c:pt idx="56">
                  <c:v>49634</c:v>
                </c:pt>
                <c:pt idx="57">
                  <c:v>50389</c:v>
                </c:pt>
                <c:pt idx="58">
                  <c:v>50517</c:v>
                </c:pt>
                <c:pt idx="59">
                  <c:v>50575</c:v>
                </c:pt>
                <c:pt idx="60">
                  <c:v>51172</c:v>
                </c:pt>
                <c:pt idx="61">
                  <c:v>51987</c:v>
                </c:pt>
                <c:pt idx="62">
                  <c:v>52810</c:v>
                </c:pt>
                <c:pt idx="63">
                  <c:v>54036</c:v>
                </c:pt>
                <c:pt idx="64">
                  <c:v>55026</c:v>
                </c:pt>
                <c:pt idx="65">
                  <c:v>55102</c:v>
                </c:pt>
                <c:pt idx="66">
                  <c:v>55149</c:v>
                </c:pt>
                <c:pt idx="67">
                  <c:v>56039</c:v>
                </c:pt>
                <c:pt idx="68">
                  <c:v>56992</c:v>
                </c:pt>
                <c:pt idx="69">
                  <c:v>57984</c:v>
                </c:pt>
                <c:pt idx="70">
                  <c:v>58892</c:v>
                </c:pt>
                <c:pt idx="71">
                  <c:v>60080</c:v>
                </c:pt>
                <c:pt idx="72">
                  <c:v>60329</c:v>
                </c:pt>
                <c:pt idx="73">
                  <c:v>60517</c:v>
                </c:pt>
                <c:pt idx="74">
                  <c:v>61295</c:v>
                </c:pt>
                <c:pt idx="75">
                  <c:v>62222</c:v>
                </c:pt>
                <c:pt idx="76">
                  <c:v>63168</c:v>
                </c:pt>
                <c:pt idx="77">
                  <c:v>64494</c:v>
                </c:pt>
                <c:pt idx="78">
                  <c:v>65594</c:v>
                </c:pt>
                <c:pt idx="79">
                  <c:v>65829</c:v>
                </c:pt>
                <c:pt idx="80">
                  <c:v>66072</c:v>
                </c:pt>
                <c:pt idx="81">
                  <c:v>66776</c:v>
                </c:pt>
                <c:pt idx="82">
                  <c:v>67817</c:v>
                </c:pt>
                <c:pt idx="83">
                  <c:v>68836</c:v>
                </c:pt>
                <c:pt idx="84">
                  <c:v>69728</c:v>
                </c:pt>
                <c:pt idx="85">
                  <c:v>70703</c:v>
                </c:pt>
                <c:pt idx="86">
                  <c:v>71063</c:v>
                </c:pt>
                <c:pt idx="87">
                  <c:v>71236</c:v>
                </c:pt>
                <c:pt idx="88">
                  <c:v>71766</c:v>
                </c:pt>
                <c:pt idx="89">
                  <c:v>72319</c:v>
                </c:pt>
                <c:pt idx="90">
                  <c:v>72823</c:v>
                </c:pt>
                <c:pt idx="91">
                  <c:v>73380</c:v>
                </c:pt>
                <c:pt idx="92">
                  <c:v>73960</c:v>
                </c:pt>
                <c:pt idx="93">
                  <c:v>74112</c:v>
                </c:pt>
                <c:pt idx="94">
                  <c:v>74279</c:v>
                </c:pt>
                <c:pt idx="95">
                  <c:v>74627</c:v>
                </c:pt>
                <c:pt idx="96">
                  <c:v>75073</c:v>
                </c:pt>
                <c:pt idx="97">
                  <c:v>75542</c:v>
                </c:pt>
                <c:pt idx="98">
                  <c:v>75995</c:v>
                </c:pt>
                <c:pt idx="99">
                  <c:v>76100</c:v>
                </c:pt>
                <c:pt idx="100">
                  <c:v>76142</c:v>
                </c:pt>
                <c:pt idx="101">
                  <c:v>76191</c:v>
                </c:pt>
                <c:pt idx="102">
                  <c:v>76227</c:v>
                </c:pt>
                <c:pt idx="103">
                  <c:v>76473</c:v>
                </c:pt>
                <c:pt idx="104">
                  <c:v>76790</c:v>
                </c:pt>
                <c:pt idx="105">
                  <c:v>77329</c:v>
                </c:pt>
                <c:pt idx="106">
                  <c:v>77902</c:v>
                </c:pt>
                <c:pt idx="107">
                  <c:v>78060</c:v>
                </c:pt>
                <c:pt idx="108">
                  <c:v>78160</c:v>
                </c:pt>
                <c:pt idx="109">
                  <c:v>78586</c:v>
                </c:pt>
                <c:pt idx="110">
                  <c:v>78964</c:v>
                </c:pt>
                <c:pt idx="111">
                  <c:v>79417</c:v>
                </c:pt>
                <c:pt idx="112">
                  <c:v>80073</c:v>
                </c:pt>
                <c:pt idx="113">
                  <c:v>80799</c:v>
                </c:pt>
                <c:pt idx="114">
                  <c:v>81002</c:v>
                </c:pt>
                <c:pt idx="115">
                  <c:v>81193</c:v>
                </c:pt>
                <c:pt idx="116">
                  <c:v>81711</c:v>
                </c:pt>
                <c:pt idx="117">
                  <c:v>82215</c:v>
                </c:pt>
                <c:pt idx="118">
                  <c:v>82874</c:v>
                </c:pt>
                <c:pt idx="119">
                  <c:v>83598</c:v>
                </c:pt>
                <c:pt idx="120">
                  <c:v>84311</c:v>
                </c:pt>
                <c:pt idx="121">
                  <c:v>84511</c:v>
                </c:pt>
                <c:pt idx="122">
                  <c:v>84699</c:v>
                </c:pt>
                <c:pt idx="123">
                  <c:v>85306</c:v>
                </c:pt>
                <c:pt idx="124">
                  <c:v>85855</c:v>
                </c:pt>
                <c:pt idx="125">
                  <c:v>86558</c:v>
                </c:pt>
                <c:pt idx="126">
                  <c:v>87316</c:v>
                </c:pt>
                <c:pt idx="127">
                  <c:v>87963</c:v>
                </c:pt>
                <c:pt idx="128">
                  <c:v>88117</c:v>
                </c:pt>
                <c:pt idx="129">
                  <c:v>88270</c:v>
                </c:pt>
                <c:pt idx="130">
                  <c:v>88777</c:v>
                </c:pt>
                <c:pt idx="131">
                  <c:v>89298</c:v>
                </c:pt>
                <c:pt idx="132">
                  <c:v>89823</c:v>
                </c:pt>
                <c:pt idx="133">
                  <c:v>90371</c:v>
                </c:pt>
                <c:pt idx="134">
                  <c:v>90940</c:v>
                </c:pt>
                <c:pt idx="135">
                  <c:v>91157</c:v>
                </c:pt>
                <c:pt idx="136">
                  <c:v>91264</c:v>
                </c:pt>
                <c:pt idx="137">
                  <c:v>91661</c:v>
                </c:pt>
                <c:pt idx="138">
                  <c:v>92140</c:v>
                </c:pt>
                <c:pt idx="139">
                  <c:v>92573</c:v>
                </c:pt>
                <c:pt idx="140">
                  <c:v>93009</c:v>
                </c:pt>
                <c:pt idx="141">
                  <c:v>93374</c:v>
                </c:pt>
                <c:pt idx="142">
                  <c:v>93533</c:v>
                </c:pt>
                <c:pt idx="143">
                  <c:v>93637</c:v>
                </c:pt>
                <c:pt idx="144">
                  <c:v>93954</c:v>
                </c:pt>
                <c:pt idx="145">
                  <c:v>94327</c:v>
                </c:pt>
                <c:pt idx="146">
                  <c:v>94686</c:v>
                </c:pt>
                <c:pt idx="147">
                  <c:v>95077</c:v>
                </c:pt>
                <c:pt idx="148">
                  <c:v>95440</c:v>
                </c:pt>
                <c:pt idx="149">
                  <c:v>95585</c:v>
                </c:pt>
                <c:pt idx="150">
                  <c:v>95683</c:v>
                </c:pt>
                <c:pt idx="151">
                  <c:v>95896</c:v>
                </c:pt>
                <c:pt idx="152">
                  <c:v>96135</c:v>
                </c:pt>
                <c:pt idx="153">
                  <c:v>96487</c:v>
                </c:pt>
                <c:pt idx="154">
                  <c:v>96817</c:v>
                </c:pt>
                <c:pt idx="155">
                  <c:v>97101</c:v>
                </c:pt>
                <c:pt idx="156">
                  <c:v>97243</c:v>
                </c:pt>
                <c:pt idx="157">
                  <c:v>97333</c:v>
                </c:pt>
                <c:pt idx="158">
                  <c:v>97610</c:v>
                </c:pt>
                <c:pt idx="159">
                  <c:v>97881</c:v>
                </c:pt>
                <c:pt idx="160">
                  <c:v>98224</c:v>
                </c:pt>
                <c:pt idx="161">
                  <c:v>98576</c:v>
                </c:pt>
                <c:pt idx="162">
                  <c:v>98901</c:v>
                </c:pt>
                <c:pt idx="163">
                  <c:v>99037</c:v>
                </c:pt>
                <c:pt idx="164">
                  <c:v>99167</c:v>
                </c:pt>
                <c:pt idx="165">
                  <c:v>99502</c:v>
                </c:pt>
                <c:pt idx="166">
                  <c:v>99842</c:v>
                </c:pt>
                <c:pt idx="167">
                  <c:v>100190</c:v>
                </c:pt>
                <c:pt idx="168">
                  <c:v>100544</c:v>
                </c:pt>
                <c:pt idx="169">
                  <c:v>100845</c:v>
                </c:pt>
                <c:pt idx="170">
                  <c:v>101052</c:v>
                </c:pt>
                <c:pt idx="171">
                  <c:v>101168</c:v>
                </c:pt>
                <c:pt idx="172">
                  <c:v>101411</c:v>
                </c:pt>
                <c:pt idx="173">
                  <c:v>101682</c:v>
                </c:pt>
                <c:pt idx="174">
                  <c:v>101924</c:v>
                </c:pt>
                <c:pt idx="175">
                  <c:v>102192</c:v>
                </c:pt>
                <c:pt idx="176">
                  <c:v>102409</c:v>
                </c:pt>
                <c:pt idx="177">
                  <c:v>102527</c:v>
                </c:pt>
                <c:pt idx="178">
                  <c:v>102620</c:v>
                </c:pt>
                <c:pt idx="179">
                  <c:v>102798</c:v>
                </c:pt>
                <c:pt idx="180">
                  <c:v>103016</c:v>
                </c:pt>
                <c:pt idx="181">
                  <c:v>103205</c:v>
                </c:pt>
                <c:pt idx="182">
                  <c:v>103364</c:v>
                </c:pt>
                <c:pt idx="183">
                  <c:v>103551</c:v>
                </c:pt>
                <c:pt idx="184">
                  <c:v>103642</c:v>
                </c:pt>
                <c:pt idx="185">
                  <c:v>103708</c:v>
                </c:pt>
                <c:pt idx="186">
                  <c:v>103889</c:v>
                </c:pt>
                <c:pt idx="187">
                  <c:v>104057</c:v>
                </c:pt>
                <c:pt idx="188">
                  <c:v>104236</c:v>
                </c:pt>
                <c:pt idx="189">
                  <c:v>104377</c:v>
                </c:pt>
                <c:pt idx="190">
                  <c:v>104570</c:v>
                </c:pt>
                <c:pt idx="191">
                  <c:v>104603</c:v>
                </c:pt>
                <c:pt idx="192">
                  <c:v>104648</c:v>
                </c:pt>
                <c:pt idx="193">
                  <c:v>104696</c:v>
                </c:pt>
                <c:pt idx="194">
                  <c:v>104728</c:v>
                </c:pt>
                <c:pt idx="195">
                  <c:v>104892</c:v>
                </c:pt>
                <c:pt idx="196">
                  <c:v>105070</c:v>
                </c:pt>
                <c:pt idx="197">
                  <c:v>105239</c:v>
                </c:pt>
                <c:pt idx="198">
                  <c:v>105298</c:v>
                </c:pt>
                <c:pt idx="199">
                  <c:v>105347</c:v>
                </c:pt>
                <c:pt idx="200">
                  <c:v>105509</c:v>
                </c:pt>
                <c:pt idx="201">
                  <c:v>105693</c:v>
                </c:pt>
                <c:pt idx="202">
                  <c:v>105897</c:v>
                </c:pt>
                <c:pt idx="203">
                  <c:v>106086</c:v>
                </c:pt>
                <c:pt idx="204">
                  <c:v>106269</c:v>
                </c:pt>
                <c:pt idx="205">
                  <c:v>106319</c:v>
                </c:pt>
                <c:pt idx="206">
                  <c:v>106377</c:v>
                </c:pt>
                <c:pt idx="207">
                  <c:v>106548</c:v>
                </c:pt>
                <c:pt idx="208">
                  <c:v>106697</c:v>
                </c:pt>
                <c:pt idx="209">
                  <c:v>106877</c:v>
                </c:pt>
                <c:pt idx="210">
                  <c:v>107054</c:v>
                </c:pt>
                <c:pt idx="211">
                  <c:v>107201</c:v>
                </c:pt>
                <c:pt idx="212">
                  <c:v>107245</c:v>
                </c:pt>
                <c:pt idx="213">
                  <c:v>107271</c:v>
                </c:pt>
                <c:pt idx="214">
                  <c:v>107439</c:v>
                </c:pt>
                <c:pt idx="215">
                  <c:v>107609</c:v>
                </c:pt>
                <c:pt idx="216">
                  <c:v>107760</c:v>
                </c:pt>
                <c:pt idx="217">
                  <c:v>107909</c:v>
                </c:pt>
                <c:pt idx="218">
                  <c:v>108074</c:v>
                </c:pt>
                <c:pt idx="219">
                  <c:v>108113</c:v>
                </c:pt>
                <c:pt idx="220">
                  <c:v>108153</c:v>
                </c:pt>
                <c:pt idx="221">
                  <c:v>108252</c:v>
                </c:pt>
                <c:pt idx="222">
                  <c:v>108364</c:v>
                </c:pt>
                <c:pt idx="223">
                  <c:v>108492</c:v>
                </c:pt>
                <c:pt idx="224">
                  <c:v>108601</c:v>
                </c:pt>
                <c:pt idx="225">
                  <c:v>108721</c:v>
                </c:pt>
                <c:pt idx="226">
                  <c:v>108743</c:v>
                </c:pt>
                <c:pt idx="227">
                  <c:v>108768</c:v>
                </c:pt>
                <c:pt idx="228">
                  <c:v>108853</c:v>
                </c:pt>
                <c:pt idx="229">
                  <c:v>108932</c:v>
                </c:pt>
                <c:pt idx="230">
                  <c:v>109002</c:v>
                </c:pt>
                <c:pt idx="231">
                  <c:v>109108</c:v>
                </c:pt>
                <c:pt idx="232">
                  <c:v>109171</c:v>
                </c:pt>
                <c:pt idx="233">
                  <c:v>109192</c:v>
                </c:pt>
                <c:pt idx="234">
                  <c:v>109214</c:v>
                </c:pt>
                <c:pt idx="235">
                  <c:v>109300</c:v>
                </c:pt>
                <c:pt idx="236">
                  <c:v>109379</c:v>
                </c:pt>
                <c:pt idx="237">
                  <c:v>109442</c:v>
                </c:pt>
                <c:pt idx="238">
                  <c:v>109512</c:v>
                </c:pt>
                <c:pt idx="239">
                  <c:v>109627</c:v>
                </c:pt>
                <c:pt idx="240">
                  <c:v>109641</c:v>
                </c:pt>
                <c:pt idx="241">
                  <c:v>109652</c:v>
                </c:pt>
                <c:pt idx="242">
                  <c:v>109748</c:v>
                </c:pt>
                <c:pt idx="243">
                  <c:v>109835</c:v>
                </c:pt>
                <c:pt idx="244">
                  <c:v>109902</c:v>
                </c:pt>
                <c:pt idx="245">
                  <c:v>109974</c:v>
                </c:pt>
                <c:pt idx="246">
                  <c:v>110062</c:v>
                </c:pt>
                <c:pt idx="247">
                  <c:v>110078</c:v>
                </c:pt>
                <c:pt idx="248">
                  <c:v>110094</c:v>
                </c:pt>
                <c:pt idx="249">
                  <c:v>110166</c:v>
                </c:pt>
                <c:pt idx="250">
                  <c:v>110227</c:v>
                </c:pt>
                <c:pt idx="251">
                  <c:v>110283</c:v>
                </c:pt>
                <c:pt idx="252">
                  <c:v>110357</c:v>
                </c:pt>
                <c:pt idx="253">
                  <c:v>110433</c:v>
                </c:pt>
                <c:pt idx="254">
                  <c:v>110445</c:v>
                </c:pt>
                <c:pt idx="255">
                  <c:v>110455</c:v>
                </c:pt>
                <c:pt idx="256">
                  <c:v>110514</c:v>
                </c:pt>
                <c:pt idx="257">
                  <c:v>110556</c:v>
                </c:pt>
                <c:pt idx="258">
                  <c:v>110607</c:v>
                </c:pt>
                <c:pt idx="259">
                  <c:v>110662</c:v>
                </c:pt>
                <c:pt idx="260">
                  <c:v>110713</c:v>
                </c:pt>
                <c:pt idx="261">
                  <c:v>110730</c:v>
                </c:pt>
                <c:pt idx="262">
                  <c:v>110737</c:v>
                </c:pt>
                <c:pt idx="263">
                  <c:v>110781</c:v>
                </c:pt>
                <c:pt idx="264">
                  <c:v>110844</c:v>
                </c:pt>
                <c:pt idx="265">
                  <c:v>110892</c:v>
                </c:pt>
                <c:pt idx="266">
                  <c:v>110949</c:v>
                </c:pt>
                <c:pt idx="267">
                  <c:v>111017</c:v>
                </c:pt>
                <c:pt idx="268">
                  <c:v>111034</c:v>
                </c:pt>
                <c:pt idx="269">
                  <c:v>111040</c:v>
                </c:pt>
                <c:pt idx="270">
                  <c:v>111078</c:v>
                </c:pt>
                <c:pt idx="271">
                  <c:v>111127</c:v>
                </c:pt>
                <c:pt idx="272">
                  <c:v>111170</c:v>
                </c:pt>
                <c:pt idx="273">
                  <c:v>111223</c:v>
                </c:pt>
                <c:pt idx="274">
                  <c:v>111295</c:v>
                </c:pt>
                <c:pt idx="275">
                  <c:v>111305</c:v>
                </c:pt>
                <c:pt idx="276">
                  <c:v>111309</c:v>
                </c:pt>
                <c:pt idx="277">
                  <c:v>111353</c:v>
                </c:pt>
                <c:pt idx="278">
                  <c:v>111355</c:v>
                </c:pt>
                <c:pt idx="279">
                  <c:v>111396</c:v>
                </c:pt>
                <c:pt idx="280">
                  <c:v>111435</c:v>
                </c:pt>
                <c:pt idx="281">
                  <c:v>111469</c:v>
                </c:pt>
                <c:pt idx="282">
                  <c:v>111476</c:v>
                </c:pt>
                <c:pt idx="283">
                  <c:v>111483</c:v>
                </c:pt>
                <c:pt idx="284">
                  <c:v>111511</c:v>
                </c:pt>
                <c:pt idx="285">
                  <c:v>111557</c:v>
                </c:pt>
                <c:pt idx="286">
                  <c:v>111606</c:v>
                </c:pt>
                <c:pt idx="287">
                  <c:v>111634</c:v>
                </c:pt>
                <c:pt idx="288">
                  <c:v>111685</c:v>
                </c:pt>
                <c:pt idx="289">
                  <c:v>111695</c:v>
                </c:pt>
                <c:pt idx="290">
                  <c:v>111700</c:v>
                </c:pt>
                <c:pt idx="291">
                  <c:v>111730</c:v>
                </c:pt>
                <c:pt idx="292">
                  <c:v>111751</c:v>
                </c:pt>
                <c:pt idx="293">
                  <c:v>111788</c:v>
                </c:pt>
                <c:pt idx="294">
                  <c:v>111817</c:v>
                </c:pt>
                <c:pt idx="295">
                  <c:v>111860</c:v>
                </c:pt>
                <c:pt idx="296">
                  <c:v>111871</c:v>
                </c:pt>
                <c:pt idx="297">
                  <c:v>111888</c:v>
                </c:pt>
                <c:pt idx="298">
                  <c:v>111940</c:v>
                </c:pt>
                <c:pt idx="299">
                  <c:v>111995</c:v>
                </c:pt>
                <c:pt idx="300">
                  <c:v>112054</c:v>
                </c:pt>
                <c:pt idx="301">
                  <c:v>112167</c:v>
                </c:pt>
                <c:pt idx="302">
                  <c:v>112289</c:v>
                </c:pt>
                <c:pt idx="303">
                  <c:v>112315</c:v>
                </c:pt>
                <c:pt idx="304">
                  <c:v>112340</c:v>
                </c:pt>
                <c:pt idx="305">
                  <c:v>112464</c:v>
                </c:pt>
                <c:pt idx="306">
                  <c:v>112631</c:v>
                </c:pt>
                <c:pt idx="307">
                  <c:v>112832</c:v>
                </c:pt>
                <c:pt idx="308">
                  <c:v>112869</c:v>
                </c:pt>
                <c:pt idx="309">
                  <c:v>113031</c:v>
                </c:pt>
                <c:pt idx="310">
                  <c:v>113077</c:v>
                </c:pt>
                <c:pt idx="311">
                  <c:v>113109</c:v>
                </c:pt>
                <c:pt idx="312">
                  <c:v>113276</c:v>
                </c:pt>
                <c:pt idx="313">
                  <c:v>113471</c:v>
                </c:pt>
                <c:pt idx="314">
                  <c:v>113660</c:v>
                </c:pt>
                <c:pt idx="315">
                  <c:v>113889</c:v>
                </c:pt>
                <c:pt idx="316">
                  <c:v>114136</c:v>
                </c:pt>
                <c:pt idx="317">
                  <c:v>114192</c:v>
                </c:pt>
                <c:pt idx="318">
                  <c:v>114230</c:v>
                </c:pt>
                <c:pt idx="319">
                  <c:v>114415</c:v>
                </c:pt>
                <c:pt idx="320">
                  <c:v>114566</c:v>
                </c:pt>
                <c:pt idx="321">
                  <c:v>114753</c:v>
                </c:pt>
                <c:pt idx="322">
                  <c:v>114931</c:v>
                </c:pt>
                <c:pt idx="323">
                  <c:v>115135</c:v>
                </c:pt>
                <c:pt idx="324">
                  <c:v>115194</c:v>
                </c:pt>
                <c:pt idx="325">
                  <c:v>115231</c:v>
                </c:pt>
                <c:pt idx="326">
                  <c:v>115424</c:v>
                </c:pt>
                <c:pt idx="327">
                  <c:v>115629</c:v>
                </c:pt>
                <c:pt idx="328">
                  <c:v>115680</c:v>
                </c:pt>
                <c:pt idx="329">
                  <c:v>115902</c:v>
                </c:pt>
                <c:pt idx="330">
                  <c:v>116172</c:v>
                </c:pt>
                <c:pt idx="331">
                  <c:v>116264</c:v>
                </c:pt>
                <c:pt idx="332">
                  <c:v>116331</c:v>
                </c:pt>
                <c:pt idx="333">
                  <c:v>116511</c:v>
                </c:pt>
                <c:pt idx="334">
                  <c:v>116687</c:v>
                </c:pt>
                <c:pt idx="335">
                  <c:v>116909</c:v>
                </c:pt>
                <c:pt idx="336">
                  <c:v>1171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B2-46E3-85FE-A83BCF6CC0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P</c:v>
                </c:pt>
              </c:strCache>
            </c:strRef>
          </c:tx>
          <c:spPr>
            <a:ln w="28575" cap="rnd">
              <a:solidFill>
                <a:srgbClr val="A6A6A6"/>
              </a:solidFill>
              <a:round/>
            </a:ln>
            <a:effectLst/>
          </c:spPr>
          <c:marker>
            <c:symbol val="none"/>
          </c:marker>
          <c:cat>
            <c:strRef>
              <c:f>List1!$F$1:$MD$1</c:f>
              <c:strCache>
                <c:ptCount val="337"/>
                <c:pt idx="0">
                  <c:v>24-XII.</c:v>
                </c:pt>
                <c:pt idx="1">
                  <c:v>25-XII.</c:v>
                </c:pt>
                <c:pt idx="2">
                  <c:v>26-XII.</c:v>
                </c:pt>
                <c:pt idx="3">
                  <c:v>27-XII.</c:v>
                </c:pt>
                <c:pt idx="4">
                  <c:v>28-XII.</c:v>
                </c:pt>
                <c:pt idx="5">
                  <c:v>29-XII.</c:v>
                </c:pt>
                <c:pt idx="6">
                  <c:v>30-XII.</c:v>
                </c:pt>
                <c:pt idx="7">
                  <c:v>31-XII.</c:v>
                </c:pt>
                <c:pt idx="8">
                  <c:v>1-I.</c:v>
                </c:pt>
                <c:pt idx="9">
                  <c:v>2-I.</c:v>
                </c:pt>
                <c:pt idx="10">
                  <c:v>3-I.</c:v>
                </c:pt>
                <c:pt idx="11">
                  <c:v>4-I.</c:v>
                </c:pt>
                <c:pt idx="12">
                  <c:v>5-I.</c:v>
                </c:pt>
                <c:pt idx="13">
                  <c:v>6-I.</c:v>
                </c:pt>
                <c:pt idx="14">
                  <c:v>7-I.</c:v>
                </c:pt>
                <c:pt idx="15">
                  <c:v>8-I.</c:v>
                </c:pt>
                <c:pt idx="16">
                  <c:v>9-I.</c:v>
                </c:pt>
                <c:pt idx="17">
                  <c:v>10-I.</c:v>
                </c:pt>
                <c:pt idx="18">
                  <c:v>11-I.</c:v>
                </c:pt>
                <c:pt idx="19">
                  <c:v>12-I.</c:v>
                </c:pt>
                <c:pt idx="20">
                  <c:v>13-I.</c:v>
                </c:pt>
                <c:pt idx="21">
                  <c:v>14-I.</c:v>
                </c:pt>
                <c:pt idx="22">
                  <c:v>15-I.</c:v>
                </c:pt>
                <c:pt idx="23">
                  <c:v>16-I.</c:v>
                </c:pt>
                <c:pt idx="24">
                  <c:v>17-I.</c:v>
                </c:pt>
                <c:pt idx="25">
                  <c:v>18-I.</c:v>
                </c:pt>
                <c:pt idx="26">
                  <c:v>19-I.</c:v>
                </c:pt>
                <c:pt idx="27">
                  <c:v>20-I.</c:v>
                </c:pt>
                <c:pt idx="28">
                  <c:v>21-I.</c:v>
                </c:pt>
                <c:pt idx="29">
                  <c:v>22-I.</c:v>
                </c:pt>
                <c:pt idx="30">
                  <c:v>23-I.</c:v>
                </c:pt>
                <c:pt idx="31">
                  <c:v>24-I.</c:v>
                </c:pt>
                <c:pt idx="32">
                  <c:v>25-I.</c:v>
                </c:pt>
                <c:pt idx="33">
                  <c:v>26-I.</c:v>
                </c:pt>
                <c:pt idx="34">
                  <c:v>27-I.</c:v>
                </c:pt>
                <c:pt idx="35">
                  <c:v>28-I.</c:v>
                </c:pt>
                <c:pt idx="36">
                  <c:v>29-I.</c:v>
                </c:pt>
                <c:pt idx="37">
                  <c:v>30-I.</c:v>
                </c:pt>
                <c:pt idx="38">
                  <c:v>31-I.</c:v>
                </c:pt>
                <c:pt idx="39">
                  <c:v>1-II.</c:v>
                </c:pt>
                <c:pt idx="40">
                  <c:v>2-II.</c:v>
                </c:pt>
                <c:pt idx="41">
                  <c:v>3-II.</c:v>
                </c:pt>
                <c:pt idx="42">
                  <c:v>4-II.</c:v>
                </c:pt>
                <c:pt idx="43">
                  <c:v>5-II.</c:v>
                </c:pt>
                <c:pt idx="44">
                  <c:v>6-II.</c:v>
                </c:pt>
                <c:pt idx="45">
                  <c:v>7-II.</c:v>
                </c:pt>
                <c:pt idx="46">
                  <c:v>8-II.</c:v>
                </c:pt>
                <c:pt idx="47">
                  <c:v>9-II.</c:v>
                </c:pt>
                <c:pt idx="48">
                  <c:v>10-II.</c:v>
                </c:pt>
                <c:pt idx="49">
                  <c:v>11-II.</c:v>
                </c:pt>
                <c:pt idx="50">
                  <c:v>12-II.</c:v>
                </c:pt>
                <c:pt idx="51">
                  <c:v>13-II.</c:v>
                </c:pt>
                <c:pt idx="52">
                  <c:v>14-II.</c:v>
                </c:pt>
                <c:pt idx="53">
                  <c:v>15-II.</c:v>
                </c:pt>
                <c:pt idx="54">
                  <c:v>16-II.</c:v>
                </c:pt>
                <c:pt idx="55">
                  <c:v>17-II.</c:v>
                </c:pt>
                <c:pt idx="56">
                  <c:v>18-II.</c:v>
                </c:pt>
                <c:pt idx="57">
                  <c:v>19-II.</c:v>
                </c:pt>
                <c:pt idx="58">
                  <c:v>20-II.</c:v>
                </c:pt>
                <c:pt idx="59">
                  <c:v>21-II.</c:v>
                </c:pt>
                <c:pt idx="60">
                  <c:v>22-II.</c:v>
                </c:pt>
                <c:pt idx="61">
                  <c:v>23-II.</c:v>
                </c:pt>
                <c:pt idx="62">
                  <c:v>24-II.</c:v>
                </c:pt>
                <c:pt idx="63">
                  <c:v>25-II.</c:v>
                </c:pt>
                <c:pt idx="64">
                  <c:v>26-II.</c:v>
                </c:pt>
                <c:pt idx="65">
                  <c:v>27-II.</c:v>
                </c:pt>
                <c:pt idx="66">
                  <c:v>28-II.</c:v>
                </c:pt>
                <c:pt idx="67">
                  <c:v>1-III.</c:v>
                </c:pt>
                <c:pt idx="68">
                  <c:v>2-III.</c:v>
                </c:pt>
                <c:pt idx="69">
                  <c:v>3-III.</c:v>
                </c:pt>
                <c:pt idx="70">
                  <c:v>4-III.</c:v>
                </c:pt>
                <c:pt idx="71">
                  <c:v>5-III.</c:v>
                </c:pt>
                <c:pt idx="72">
                  <c:v>6-III.</c:v>
                </c:pt>
                <c:pt idx="73">
                  <c:v>7-III.</c:v>
                </c:pt>
                <c:pt idx="74">
                  <c:v>8-III.</c:v>
                </c:pt>
                <c:pt idx="75">
                  <c:v>9-III.</c:v>
                </c:pt>
                <c:pt idx="76">
                  <c:v>10-III.</c:v>
                </c:pt>
                <c:pt idx="77">
                  <c:v>11-III.</c:v>
                </c:pt>
                <c:pt idx="78">
                  <c:v>12-III.</c:v>
                </c:pt>
                <c:pt idx="79">
                  <c:v>13-III.</c:v>
                </c:pt>
                <c:pt idx="80">
                  <c:v>14-III.</c:v>
                </c:pt>
                <c:pt idx="81">
                  <c:v>15-III.</c:v>
                </c:pt>
                <c:pt idx="82">
                  <c:v>16-III.</c:v>
                </c:pt>
                <c:pt idx="83">
                  <c:v>17-III.</c:v>
                </c:pt>
                <c:pt idx="84">
                  <c:v>18-III.</c:v>
                </c:pt>
                <c:pt idx="85">
                  <c:v>19-III.</c:v>
                </c:pt>
                <c:pt idx="86">
                  <c:v>20-III.</c:v>
                </c:pt>
                <c:pt idx="87">
                  <c:v>21-III.</c:v>
                </c:pt>
                <c:pt idx="88">
                  <c:v>22-III.</c:v>
                </c:pt>
                <c:pt idx="89">
                  <c:v>23-III.</c:v>
                </c:pt>
                <c:pt idx="90">
                  <c:v>24-III.</c:v>
                </c:pt>
                <c:pt idx="91">
                  <c:v>25-III.</c:v>
                </c:pt>
                <c:pt idx="92">
                  <c:v>26-III.</c:v>
                </c:pt>
                <c:pt idx="93">
                  <c:v>27-III.</c:v>
                </c:pt>
                <c:pt idx="94">
                  <c:v>28-III.</c:v>
                </c:pt>
                <c:pt idx="95">
                  <c:v>29-III.</c:v>
                </c:pt>
                <c:pt idx="96">
                  <c:v>30-III.</c:v>
                </c:pt>
                <c:pt idx="97">
                  <c:v>31-III.</c:v>
                </c:pt>
                <c:pt idx="98">
                  <c:v>1-IV.</c:v>
                </c:pt>
                <c:pt idx="99">
                  <c:v>2-IV.</c:v>
                </c:pt>
                <c:pt idx="100">
                  <c:v>3-IV.</c:v>
                </c:pt>
                <c:pt idx="101">
                  <c:v>4-IV.</c:v>
                </c:pt>
                <c:pt idx="102">
                  <c:v>5-IV.</c:v>
                </c:pt>
                <c:pt idx="103">
                  <c:v>6-IV.</c:v>
                </c:pt>
                <c:pt idx="104">
                  <c:v>7-IV.</c:v>
                </c:pt>
                <c:pt idx="105">
                  <c:v>8-IV.</c:v>
                </c:pt>
                <c:pt idx="106">
                  <c:v>9-IV.</c:v>
                </c:pt>
                <c:pt idx="107">
                  <c:v>10-IV.</c:v>
                </c:pt>
                <c:pt idx="108">
                  <c:v>11-IV.</c:v>
                </c:pt>
                <c:pt idx="109">
                  <c:v>12-IV.</c:v>
                </c:pt>
                <c:pt idx="110">
                  <c:v>13-IV.</c:v>
                </c:pt>
                <c:pt idx="111">
                  <c:v>14-IV.</c:v>
                </c:pt>
                <c:pt idx="112">
                  <c:v>15-IV.</c:v>
                </c:pt>
                <c:pt idx="113">
                  <c:v>16-IV.</c:v>
                </c:pt>
                <c:pt idx="114">
                  <c:v>17-IV.</c:v>
                </c:pt>
                <c:pt idx="115">
                  <c:v>18-IV.</c:v>
                </c:pt>
                <c:pt idx="116">
                  <c:v>19-IV.</c:v>
                </c:pt>
                <c:pt idx="117">
                  <c:v>20-IV.</c:v>
                </c:pt>
                <c:pt idx="118">
                  <c:v>21-IV.</c:v>
                </c:pt>
                <c:pt idx="119">
                  <c:v>22-IV.</c:v>
                </c:pt>
                <c:pt idx="120">
                  <c:v>23-IV.</c:v>
                </c:pt>
                <c:pt idx="121">
                  <c:v>24-IV.</c:v>
                </c:pt>
                <c:pt idx="122">
                  <c:v>25-IV.</c:v>
                </c:pt>
                <c:pt idx="123">
                  <c:v>26-IV.</c:v>
                </c:pt>
                <c:pt idx="124">
                  <c:v>27-IV.</c:v>
                </c:pt>
                <c:pt idx="125">
                  <c:v>28-IV.</c:v>
                </c:pt>
                <c:pt idx="126">
                  <c:v>29-IV.</c:v>
                </c:pt>
                <c:pt idx="127">
                  <c:v>30-IV.</c:v>
                </c:pt>
                <c:pt idx="128">
                  <c:v>1-V.</c:v>
                </c:pt>
                <c:pt idx="129">
                  <c:v>2-V.</c:v>
                </c:pt>
                <c:pt idx="130">
                  <c:v>3-V.</c:v>
                </c:pt>
                <c:pt idx="131">
                  <c:v>4-V.</c:v>
                </c:pt>
                <c:pt idx="132">
                  <c:v>5-V.</c:v>
                </c:pt>
                <c:pt idx="133">
                  <c:v>6-V.</c:v>
                </c:pt>
                <c:pt idx="134">
                  <c:v>7-V.</c:v>
                </c:pt>
                <c:pt idx="135">
                  <c:v>8-V.</c:v>
                </c:pt>
                <c:pt idx="136">
                  <c:v>9-V.</c:v>
                </c:pt>
                <c:pt idx="137">
                  <c:v>10-V.</c:v>
                </c:pt>
                <c:pt idx="138">
                  <c:v>11-V.</c:v>
                </c:pt>
                <c:pt idx="139">
                  <c:v>12-V.</c:v>
                </c:pt>
                <c:pt idx="140">
                  <c:v>13-V.</c:v>
                </c:pt>
                <c:pt idx="141">
                  <c:v>14-V.</c:v>
                </c:pt>
                <c:pt idx="142">
                  <c:v>15-V.</c:v>
                </c:pt>
                <c:pt idx="143">
                  <c:v>16-V.</c:v>
                </c:pt>
                <c:pt idx="144">
                  <c:v>17-V.</c:v>
                </c:pt>
                <c:pt idx="145">
                  <c:v>18-V.</c:v>
                </c:pt>
                <c:pt idx="146">
                  <c:v>19-V.</c:v>
                </c:pt>
                <c:pt idx="147">
                  <c:v>20-V.</c:v>
                </c:pt>
                <c:pt idx="148">
                  <c:v>21-V.</c:v>
                </c:pt>
                <c:pt idx="149">
                  <c:v>22-V.</c:v>
                </c:pt>
                <c:pt idx="150">
                  <c:v>23-V.</c:v>
                </c:pt>
                <c:pt idx="151">
                  <c:v>24-V.</c:v>
                </c:pt>
                <c:pt idx="152">
                  <c:v>25-V.</c:v>
                </c:pt>
                <c:pt idx="153">
                  <c:v>26-V.</c:v>
                </c:pt>
                <c:pt idx="154">
                  <c:v>27-V.</c:v>
                </c:pt>
                <c:pt idx="155">
                  <c:v>28-V.</c:v>
                </c:pt>
                <c:pt idx="156">
                  <c:v>29-V.</c:v>
                </c:pt>
                <c:pt idx="157">
                  <c:v>30-V.</c:v>
                </c:pt>
                <c:pt idx="158">
                  <c:v>31-V.</c:v>
                </c:pt>
                <c:pt idx="159">
                  <c:v>1-VI.</c:v>
                </c:pt>
                <c:pt idx="160">
                  <c:v>2-VI.</c:v>
                </c:pt>
                <c:pt idx="161">
                  <c:v>3-VI.</c:v>
                </c:pt>
                <c:pt idx="162">
                  <c:v>4-VI.</c:v>
                </c:pt>
                <c:pt idx="163">
                  <c:v>5-VI.</c:v>
                </c:pt>
                <c:pt idx="164">
                  <c:v>6-VI.</c:v>
                </c:pt>
                <c:pt idx="165">
                  <c:v>7-VI.</c:v>
                </c:pt>
                <c:pt idx="166">
                  <c:v>8-VI.</c:v>
                </c:pt>
                <c:pt idx="167">
                  <c:v>9-VI.</c:v>
                </c:pt>
                <c:pt idx="168">
                  <c:v>10-VI.</c:v>
                </c:pt>
                <c:pt idx="169">
                  <c:v>11-VI.</c:v>
                </c:pt>
                <c:pt idx="170">
                  <c:v>12-VI.</c:v>
                </c:pt>
                <c:pt idx="171">
                  <c:v>13-VI.</c:v>
                </c:pt>
                <c:pt idx="172">
                  <c:v>14-VI.</c:v>
                </c:pt>
                <c:pt idx="173">
                  <c:v>15-VI.</c:v>
                </c:pt>
                <c:pt idx="174">
                  <c:v>16-VI.</c:v>
                </c:pt>
                <c:pt idx="175">
                  <c:v>17-VI.</c:v>
                </c:pt>
                <c:pt idx="176">
                  <c:v>18-VI.</c:v>
                </c:pt>
                <c:pt idx="177">
                  <c:v>19-VI.</c:v>
                </c:pt>
                <c:pt idx="178">
                  <c:v>20-VI.</c:v>
                </c:pt>
                <c:pt idx="179">
                  <c:v>21-VI.</c:v>
                </c:pt>
                <c:pt idx="180">
                  <c:v>22-VI.</c:v>
                </c:pt>
                <c:pt idx="181">
                  <c:v>23-VI.</c:v>
                </c:pt>
                <c:pt idx="182">
                  <c:v>24-VI.</c:v>
                </c:pt>
                <c:pt idx="183">
                  <c:v>25-VI.</c:v>
                </c:pt>
                <c:pt idx="184">
                  <c:v>26-VI.</c:v>
                </c:pt>
                <c:pt idx="185">
                  <c:v>27-VI.</c:v>
                </c:pt>
                <c:pt idx="186">
                  <c:v>28-VI.</c:v>
                </c:pt>
                <c:pt idx="187">
                  <c:v>29-VI.</c:v>
                </c:pt>
                <c:pt idx="188">
                  <c:v>30-VI.</c:v>
                </c:pt>
                <c:pt idx="189">
                  <c:v>1-VII.</c:v>
                </c:pt>
                <c:pt idx="190">
                  <c:v>2-VII.</c:v>
                </c:pt>
                <c:pt idx="191">
                  <c:v>3-VII.</c:v>
                </c:pt>
                <c:pt idx="192">
                  <c:v>4-VII.</c:v>
                </c:pt>
                <c:pt idx="193">
                  <c:v>5-VII.</c:v>
                </c:pt>
                <c:pt idx="194">
                  <c:v>6-VII.</c:v>
                </c:pt>
                <c:pt idx="195">
                  <c:v>7-VII.</c:v>
                </c:pt>
                <c:pt idx="196">
                  <c:v>8-VII.</c:v>
                </c:pt>
                <c:pt idx="197">
                  <c:v>9-VII.</c:v>
                </c:pt>
                <c:pt idx="198">
                  <c:v>10-VII.</c:v>
                </c:pt>
                <c:pt idx="199">
                  <c:v>11-VII.</c:v>
                </c:pt>
                <c:pt idx="200">
                  <c:v>12-VII.</c:v>
                </c:pt>
                <c:pt idx="201">
                  <c:v>13-VII.</c:v>
                </c:pt>
                <c:pt idx="202">
                  <c:v>14-VII.</c:v>
                </c:pt>
                <c:pt idx="203">
                  <c:v>15-VII.</c:v>
                </c:pt>
                <c:pt idx="204">
                  <c:v>16-VII.</c:v>
                </c:pt>
                <c:pt idx="205">
                  <c:v>17-VII.</c:v>
                </c:pt>
                <c:pt idx="206">
                  <c:v>18-VII.</c:v>
                </c:pt>
                <c:pt idx="207">
                  <c:v>19-VII.</c:v>
                </c:pt>
                <c:pt idx="208">
                  <c:v>20-VII.</c:v>
                </c:pt>
                <c:pt idx="209">
                  <c:v>21-VII.</c:v>
                </c:pt>
                <c:pt idx="210">
                  <c:v>22-VII.</c:v>
                </c:pt>
                <c:pt idx="211">
                  <c:v>23-VII.</c:v>
                </c:pt>
                <c:pt idx="212">
                  <c:v>24-VII.</c:v>
                </c:pt>
                <c:pt idx="213">
                  <c:v>25-VII.</c:v>
                </c:pt>
                <c:pt idx="214">
                  <c:v>26-VII.</c:v>
                </c:pt>
                <c:pt idx="215">
                  <c:v>27-VII.</c:v>
                </c:pt>
                <c:pt idx="216">
                  <c:v>28-VII.</c:v>
                </c:pt>
                <c:pt idx="217">
                  <c:v>29-VII.</c:v>
                </c:pt>
                <c:pt idx="218">
                  <c:v>30-VII.</c:v>
                </c:pt>
                <c:pt idx="219">
                  <c:v>31-VII.</c:v>
                </c:pt>
                <c:pt idx="220">
                  <c:v>1-VIII.</c:v>
                </c:pt>
                <c:pt idx="221">
                  <c:v>2-VIII.</c:v>
                </c:pt>
                <c:pt idx="222">
                  <c:v>3-VIII.</c:v>
                </c:pt>
                <c:pt idx="223">
                  <c:v>4-VIII.</c:v>
                </c:pt>
                <c:pt idx="224">
                  <c:v>5-VIII.</c:v>
                </c:pt>
                <c:pt idx="225">
                  <c:v>6-VIII.</c:v>
                </c:pt>
                <c:pt idx="226">
                  <c:v>7-VIII.</c:v>
                </c:pt>
                <c:pt idx="227">
                  <c:v>8-VIII.</c:v>
                </c:pt>
                <c:pt idx="228">
                  <c:v>9-VIII.</c:v>
                </c:pt>
                <c:pt idx="229">
                  <c:v>10-VIII.</c:v>
                </c:pt>
                <c:pt idx="230">
                  <c:v>11-VIII.</c:v>
                </c:pt>
                <c:pt idx="231">
                  <c:v>12-VIII.</c:v>
                </c:pt>
                <c:pt idx="232">
                  <c:v>13-VIII.</c:v>
                </c:pt>
                <c:pt idx="233">
                  <c:v>14-VIII.</c:v>
                </c:pt>
                <c:pt idx="234">
                  <c:v>15-VIII.</c:v>
                </c:pt>
                <c:pt idx="235">
                  <c:v>16-VIII.</c:v>
                </c:pt>
                <c:pt idx="236">
                  <c:v>17-VIII.</c:v>
                </c:pt>
                <c:pt idx="237">
                  <c:v>18-VIII.</c:v>
                </c:pt>
                <c:pt idx="238">
                  <c:v>19-VIII.</c:v>
                </c:pt>
                <c:pt idx="239">
                  <c:v>20-VIII.</c:v>
                </c:pt>
                <c:pt idx="240">
                  <c:v>21-VIII.</c:v>
                </c:pt>
                <c:pt idx="241">
                  <c:v>22-VIII.</c:v>
                </c:pt>
                <c:pt idx="242">
                  <c:v>23-VIII.</c:v>
                </c:pt>
                <c:pt idx="243">
                  <c:v>24-VIII.</c:v>
                </c:pt>
                <c:pt idx="244">
                  <c:v>25-VIII.</c:v>
                </c:pt>
                <c:pt idx="245">
                  <c:v>26-VIII.</c:v>
                </c:pt>
                <c:pt idx="246">
                  <c:v>27-VIII.</c:v>
                </c:pt>
                <c:pt idx="247">
                  <c:v>28-VIII.</c:v>
                </c:pt>
                <c:pt idx="248">
                  <c:v>29-VIII.</c:v>
                </c:pt>
                <c:pt idx="249">
                  <c:v>30-VIII.</c:v>
                </c:pt>
                <c:pt idx="250">
                  <c:v>31-VIII.</c:v>
                </c:pt>
                <c:pt idx="251">
                  <c:v>1-IX.</c:v>
                </c:pt>
                <c:pt idx="252">
                  <c:v>2-IX.</c:v>
                </c:pt>
                <c:pt idx="253">
                  <c:v>3-IX.</c:v>
                </c:pt>
                <c:pt idx="254">
                  <c:v>4-IX.</c:v>
                </c:pt>
                <c:pt idx="255">
                  <c:v>5-IX.</c:v>
                </c:pt>
                <c:pt idx="256">
                  <c:v>6-IX.</c:v>
                </c:pt>
                <c:pt idx="257">
                  <c:v>7-IX.</c:v>
                </c:pt>
                <c:pt idx="258">
                  <c:v>8-IX.</c:v>
                </c:pt>
                <c:pt idx="259">
                  <c:v>9-IX.</c:v>
                </c:pt>
                <c:pt idx="260">
                  <c:v>10-IX.</c:v>
                </c:pt>
                <c:pt idx="261">
                  <c:v>11-IX.</c:v>
                </c:pt>
                <c:pt idx="262">
                  <c:v>12-IX.</c:v>
                </c:pt>
                <c:pt idx="263">
                  <c:v>13-IX.</c:v>
                </c:pt>
                <c:pt idx="264">
                  <c:v>14-IX.</c:v>
                </c:pt>
                <c:pt idx="265">
                  <c:v>15-IX.</c:v>
                </c:pt>
                <c:pt idx="266">
                  <c:v>16-IX.</c:v>
                </c:pt>
                <c:pt idx="267">
                  <c:v>17-IX.</c:v>
                </c:pt>
                <c:pt idx="268">
                  <c:v>18-IX.</c:v>
                </c:pt>
                <c:pt idx="269">
                  <c:v>19-IX.</c:v>
                </c:pt>
                <c:pt idx="270">
                  <c:v>20-IX.</c:v>
                </c:pt>
                <c:pt idx="271">
                  <c:v>21-IX.</c:v>
                </c:pt>
                <c:pt idx="272">
                  <c:v>22-IX.</c:v>
                </c:pt>
                <c:pt idx="273">
                  <c:v>23-IX.</c:v>
                </c:pt>
                <c:pt idx="274">
                  <c:v>24-IX.</c:v>
                </c:pt>
                <c:pt idx="275">
                  <c:v>25-IX.</c:v>
                </c:pt>
                <c:pt idx="276">
                  <c:v>26-IX.</c:v>
                </c:pt>
                <c:pt idx="277">
                  <c:v>27-IX.</c:v>
                </c:pt>
                <c:pt idx="278">
                  <c:v>28-IX.</c:v>
                </c:pt>
                <c:pt idx="279">
                  <c:v>29-IX.</c:v>
                </c:pt>
                <c:pt idx="280">
                  <c:v>30-IX.</c:v>
                </c:pt>
                <c:pt idx="281">
                  <c:v>1-X.</c:v>
                </c:pt>
                <c:pt idx="282">
                  <c:v>2-X.</c:v>
                </c:pt>
                <c:pt idx="283">
                  <c:v>3-X.</c:v>
                </c:pt>
                <c:pt idx="284">
                  <c:v>4-X.</c:v>
                </c:pt>
                <c:pt idx="285">
                  <c:v>5-X.</c:v>
                </c:pt>
                <c:pt idx="286">
                  <c:v>6-X.</c:v>
                </c:pt>
                <c:pt idx="287">
                  <c:v>7-X.</c:v>
                </c:pt>
                <c:pt idx="288">
                  <c:v>8-X.</c:v>
                </c:pt>
                <c:pt idx="289">
                  <c:v>9-X.</c:v>
                </c:pt>
                <c:pt idx="290">
                  <c:v>10-X.</c:v>
                </c:pt>
                <c:pt idx="291">
                  <c:v>11-X.</c:v>
                </c:pt>
                <c:pt idx="292">
                  <c:v>12-X.</c:v>
                </c:pt>
                <c:pt idx="293">
                  <c:v>13-X.</c:v>
                </c:pt>
                <c:pt idx="294">
                  <c:v>14-X.</c:v>
                </c:pt>
                <c:pt idx="295">
                  <c:v>15-X.</c:v>
                </c:pt>
                <c:pt idx="296">
                  <c:v>16-X.</c:v>
                </c:pt>
                <c:pt idx="297">
                  <c:v>17-X.</c:v>
                </c:pt>
                <c:pt idx="298">
                  <c:v>18-X.</c:v>
                </c:pt>
                <c:pt idx="299">
                  <c:v>19-X.</c:v>
                </c:pt>
                <c:pt idx="300">
                  <c:v>20-X.</c:v>
                </c:pt>
                <c:pt idx="301">
                  <c:v>21-X.</c:v>
                </c:pt>
                <c:pt idx="302">
                  <c:v>22-X.</c:v>
                </c:pt>
                <c:pt idx="303">
                  <c:v>23-X.</c:v>
                </c:pt>
                <c:pt idx="304">
                  <c:v>24-X.</c:v>
                </c:pt>
                <c:pt idx="305">
                  <c:v>25-X.</c:v>
                </c:pt>
                <c:pt idx="306">
                  <c:v>26-X.</c:v>
                </c:pt>
                <c:pt idx="307">
                  <c:v>27-X.</c:v>
                </c:pt>
                <c:pt idx="308">
                  <c:v>28-X.</c:v>
                </c:pt>
                <c:pt idx="309">
                  <c:v>29-X.</c:v>
                </c:pt>
                <c:pt idx="310">
                  <c:v>30-X.</c:v>
                </c:pt>
                <c:pt idx="311">
                  <c:v>31-X.</c:v>
                </c:pt>
                <c:pt idx="312">
                  <c:v>1-XI.</c:v>
                </c:pt>
                <c:pt idx="313">
                  <c:v>2-XI.</c:v>
                </c:pt>
                <c:pt idx="314">
                  <c:v>3-XI.</c:v>
                </c:pt>
                <c:pt idx="315">
                  <c:v>4-XI.</c:v>
                </c:pt>
                <c:pt idx="316">
                  <c:v>5-XI.</c:v>
                </c:pt>
                <c:pt idx="317">
                  <c:v>6-XI.</c:v>
                </c:pt>
                <c:pt idx="318">
                  <c:v>7-XI.</c:v>
                </c:pt>
                <c:pt idx="319">
                  <c:v>8-XI.</c:v>
                </c:pt>
                <c:pt idx="320">
                  <c:v>9-XI.</c:v>
                </c:pt>
                <c:pt idx="321">
                  <c:v>10-XI.</c:v>
                </c:pt>
                <c:pt idx="322">
                  <c:v>11-XI.</c:v>
                </c:pt>
                <c:pt idx="323">
                  <c:v>12-XI.</c:v>
                </c:pt>
                <c:pt idx="324">
                  <c:v>13-XI.</c:v>
                </c:pt>
                <c:pt idx="325">
                  <c:v>14-XI.</c:v>
                </c:pt>
                <c:pt idx="326">
                  <c:v>15-XI.</c:v>
                </c:pt>
                <c:pt idx="327">
                  <c:v>16-XI.</c:v>
                </c:pt>
                <c:pt idx="328">
                  <c:v>17-XI.</c:v>
                </c:pt>
                <c:pt idx="329">
                  <c:v>18-XI.</c:v>
                </c:pt>
                <c:pt idx="330">
                  <c:v>19-XI.</c:v>
                </c:pt>
                <c:pt idx="331">
                  <c:v>20-XI.</c:v>
                </c:pt>
                <c:pt idx="332">
                  <c:v>21-XI.</c:v>
                </c:pt>
                <c:pt idx="333">
                  <c:v>22-XI.</c:v>
                </c:pt>
                <c:pt idx="334">
                  <c:v>23-XI.</c:v>
                </c:pt>
                <c:pt idx="335">
                  <c:v>24-XI.</c:v>
                </c:pt>
                <c:pt idx="336">
                  <c:v>25-XI.</c:v>
                </c:pt>
              </c:strCache>
            </c:strRef>
          </c:cat>
          <c:val>
            <c:numRef>
              <c:f>List1!$F$4:$MD$4</c:f>
              <c:numCache>
                <c:formatCode>General</c:formatCode>
                <c:ptCount val="337"/>
                <c:pt idx="3">
                  <c:v>194</c:v>
                </c:pt>
                <c:pt idx="4">
                  <c:v>643</c:v>
                </c:pt>
                <c:pt idx="5">
                  <c:v>1251</c:v>
                </c:pt>
                <c:pt idx="6">
                  <c:v>1874</c:v>
                </c:pt>
                <c:pt idx="7">
                  <c:v>2047</c:v>
                </c:pt>
                <c:pt idx="8">
                  <c:v>2076</c:v>
                </c:pt>
                <c:pt idx="9">
                  <c:v>2364</c:v>
                </c:pt>
                <c:pt idx="10">
                  <c:v>2575</c:v>
                </c:pt>
                <c:pt idx="11">
                  <c:v>3201</c:v>
                </c:pt>
                <c:pt idx="12">
                  <c:v>4164</c:v>
                </c:pt>
                <c:pt idx="13">
                  <c:v>5582</c:v>
                </c:pt>
                <c:pt idx="14">
                  <c:v>7179</c:v>
                </c:pt>
                <c:pt idx="15">
                  <c:v>9023</c:v>
                </c:pt>
                <c:pt idx="16">
                  <c:v>9330</c:v>
                </c:pt>
                <c:pt idx="17">
                  <c:v>9637</c:v>
                </c:pt>
                <c:pt idx="18">
                  <c:v>11505</c:v>
                </c:pt>
                <c:pt idx="19">
                  <c:v>13793</c:v>
                </c:pt>
                <c:pt idx="20">
                  <c:v>15830</c:v>
                </c:pt>
                <c:pt idx="21">
                  <c:v>17712</c:v>
                </c:pt>
                <c:pt idx="22">
                  <c:v>19322</c:v>
                </c:pt>
                <c:pt idx="23">
                  <c:v>19541</c:v>
                </c:pt>
                <c:pt idx="24">
                  <c:v>19638</c:v>
                </c:pt>
                <c:pt idx="25">
                  <c:v>20812</c:v>
                </c:pt>
                <c:pt idx="26">
                  <c:v>21751</c:v>
                </c:pt>
                <c:pt idx="27">
                  <c:v>22694</c:v>
                </c:pt>
                <c:pt idx="28">
                  <c:v>23554</c:v>
                </c:pt>
                <c:pt idx="29">
                  <c:v>24303</c:v>
                </c:pt>
                <c:pt idx="30">
                  <c:v>24366</c:v>
                </c:pt>
                <c:pt idx="31">
                  <c:v>24410</c:v>
                </c:pt>
                <c:pt idx="32">
                  <c:v>24860</c:v>
                </c:pt>
                <c:pt idx="33">
                  <c:v>25314</c:v>
                </c:pt>
                <c:pt idx="34">
                  <c:v>25710</c:v>
                </c:pt>
                <c:pt idx="35">
                  <c:v>26111</c:v>
                </c:pt>
                <c:pt idx="36">
                  <c:v>26496</c:v>
                </c:pt>
                <c:pt idx="37">
                  <c:v>26520</c:v>
                </c:pt>
                <c:pt idx="38">
                  <c:v>26552</c:v>
                </c:pt>
                <c:pt idx="39">
                  <c:v>26843</c:v>
                </c:pt>
                <c:pt idx="40">
                  <c:v>27132</c:v>
                </c:pt>
                <c:pt idx="41">
                  <c:v>27365</c:v>
                </c:pt>
                <c:pt idx="42">
                  <c:v>27547</c:v>
                </c:pt>
                <c:pt idx="43">
                  <c:v>27782</c:v>
                </c:pt>
                <c:pt idx="44">
                  <c:v>27791</c:v>
                </c:pt>
                <c:pt idx="45">
                  <c:v>27809</c:v>
                </c:pt>
                <c:pt idx="46">
                  <c:v>28045</c:v>
                </c:pt>
                <c:pt idx="47">
                  <c:v>28240</c:v>
                </c:pt>
                <c:pt idx="48">
                  <c:v>28507</c:v>
                </c:pt>
                <c:pt idx="49">
                  <c:v>28855</c:v>
                </c:pt>
                <c:pt idx="50">
                  <c:v>29246</c:v>
                </c:pt>
                <c:pt idx="51">
                  <c:v>29356</c:v>
                </c:pt>
                <c:pt idx="52">
                  <c:v>29422</c:v>
                </c:pt>
                <c:pt idx="53">
                  <c:v>29837</c:v>
                </c:pt>
                <c:pt idx="54">
                  <c:v>30344</c:v>
                </c:pt>
                <c:pt idx="55">
                  <c:v>30889</c:v>
                </c:pt>
                <c:pt idx="56">
                  <c:v>31446</c:v>
                </c:pt>
                <c:pt idx="57">
                  <c:v>32099</c:v>
                </c:pt>
                <c:pt idx="58">
                  <c:v>32325</c:v>
                </c:pt>
                <c:pt idx="59">
                  <c:v>32382</c:v>
                </c:pt>
                <c:pt idx="60">
                  <c:v>33066</c:v>
                </c:pt>
                <c:pt idx="61">
                  <c:v>34063</c:v>
                </c:pt>
                <c:pt idx="62">
                  <c:v>35141</c:v>
                </c:pt>
                <c:pt idx="63">
                  <c:v>36291</c:v>
                </c:pt>
                <c:pt idx="64">
                  <c:v>37367</c:v>
                </c:pt>
                <c:pt idx="65">
                  <c:v>37525</c:v>
                </c:pt>
                <c:pt idx="66">
                  <c:v>37653</c:v>
                </c:pt>
                <c:pt idx="67">
                  <c:v>38765</c:v>
                </c:pt>
                <c:pt idx="68">
                  <c:v>39978</c:v>
                </c:pt>
                <c:pt idx="69">
                  <c:v>41091</c:v>
                </c:pt>
                <c:pt idx="70">
                  <c:v>42093</c:v>
                </c:pt>
                <c:pt idx="71">
                  <c:v>43276</c:v>
                </c:pt>
                <c:pt idx="72">
                  <c:v>43564</c:v>
                </c:pt>
                <c:pt idx="73">
                  <c:v>43778</c:v>
                </c:pt>
                <c:pt idx="74">
                  <c:v>44622</c:v>
                </c:pt>
                <c:pt idx="75">
                  <c:v>45443</c:v>
                </c:pt>
                <c:pt idx="76">
                  <c:v>46339</c:v>
                </c:pt>
                <c:pt idx="77">
                  <c:v>47535</c:v>
                </c:pt>
                <c:pt idx="78">
                  <c:v>48643</c:v>
                </c:pt>
                <c:pt idx="79">
                  <c:v>48928</c:v>
                </c:pt>
                <c:pt idx="80">
                  <c:v>49168</c:v>
                </c:pt>
                <c:pt idx="81">
                  <c:v>49795</c:v>
                </c:pt>
                <c:pt idx="82">
                  <c:v>50723</c:v>
                </c:pt>
                <c:pt idx="83">
                  <c:v>51662</c:v>
                </c:pt>
                <c:pt idx="84">
                  <c:v>52441</c:v>
                </c:pt>
                <c:pt idx="85">
                  <c:v>53398</c:v>
                </c:pt>
                <c:pt idx="86">
                  <c:v>53798</c:v>
                </c:pt>
                <c:pt idx="87">
                  <c:v>54004</c:v>
                </c:pt>
                <c:pt idx="88">
                  <c:v>54453</c:v>
                </c:pt>
                <c:pt idx="89">
                  <c:v>54946</c:v>
                </c:pt>
                <c:pt idx="90">
                  <c:v>55362</c:v>
                </c:pt>
                <c:pt idx="91">
                  <c:v>55910</c:v>
                </c:pt>
                <c:pt idx="92">
                  <c:v>56486</c:v>
                </c:pt>
                <c:pt idx="93">
                  <c:v>56646</c:v>
                </c:pt>
                <c:pt idx="94">
                  <c:v>56780</c:v>
                </c:pt>
                <c:pt idx="95">
                  <c:v>57090</c:v>
                </c:pt>
                <c:pt idx="96">
                  <c:v>57511</c:v>
                </c:pt>
                <c:pt idx="97">
                  <c:v>58008</c:v>
                </c:pt>
                <c:pt idx="98">
                  <c:v>58439</c:v>
                </c:pt>
                <c:pt idx="99">
                  <c:v>58527</c:v>
                </c:pt>
                <c:pt idx="100">
                  <c:v>58585</c:v>
                </c:pt>
                <c:pt idx="101">
                  <c:v>58623</c:v>
                </c:pt>
                <c:pt idx="102">
                  <c:v>58652</c:v>
                </c:pt>
                <c:pt idx="103">
                  <c:v>58882</c:v>
                </c:pt>
                <c:pt idx="104">
                  <c:v>59144</c:v>
                </c:pt>
                <c:pt idx="105">
                  <c:v>59680</c:v>
                </c:pt>
                <c:pt idx="106">
                  <c:v>60178</c:v>
                </c:pt>
                <c:pt idx="107">
                  <c:v>60351</c:v>
                </c:pt>
                <c:pt idx="108">
                  <c:v>60466</c:v>
                </c:pt>
                <c:pt idx="109">
                  <c:v>60839</c:v>
                </c:pt>
                <c:pt idx="110">
                  <c:v>61152</c:v>
                </c:pt>
                <c:pt idx="111">
                  <c:v>61537</c:v>
                </c:pt>
                <c:pt idx="112">
                  <c:v>62091</c:v>
                </c:pt>
                <c:pt idx="113">
                  <c:v>62737</c:v>
                </c:pt>
                <c:pt idx="114">
                  <c:v>62914</c:v>
                </c:pt>
                <c:pt idx="115">
                  <c:v>63108</c:v>
                </c:pt>
                <c:pt idx="116">
                  <c:v>63563</c:v>
                </c:pt>
                <c:pt idx="117">
                  <c:v>63988</c:v>
                </c:pt>
                <c:pt idx="118">
                  <c:v>64485</c:v>
                </c:pt>
                <c:pt idx="119">
                  <c:v>65084</c:v>
                </c:pt>
                <c:pt idx="120">
                  <c:v>65732</c:v>
                </c:pt>
                <c:pt idx="121">
                  <c:v>65912</c:v>
                </c:pt>
                <c:pt idx="122">
                  <c:v>66062</c:v>
                </c:pt>
                <c:pt idx="123">
                  <c:v>66545</c:v>
                </c:pt>
                <c:pt idx="124">
                  <c:v>66970</c:v>
                </c:pt>
                <c:pt idx="125">
                  <c:v>67536</c:v>
                </c:pt>
                <c:pt idx="126">
                  <c:v>68120</c:v>
                </c:pt>
                <c:pt idx="127">
                  <c:v>68736</c:v>
                </c:pt>
                <c:pt idx="128">
                  <c:v>68890</c:v>
                </c:pt>
                <c:pt idx="129">
                  <c:v>69046</c:v>
                </c:pt>
                <c:pt idx="130">
                  <c:v>69499</c:v>
                </c:pt>
                <c:pt idx="131">
                  <c:v>69954</c:v>
                </c:pt>
                <c:pt idx="132">
                  <c:v>70478</c:v>
                </c:pt>
                <c:pt idx="133">
                  <c:v>71008</c:v>
                </c:pt>
                <c:pt idx="134">
                  <c:v>71572</c:v>
                </c:pt>
                <c:pt idx="135">
                  <c:v>71795</c:v>
                </c:pt>
                <c:pt idx="136">
                  <c:v>71966</c:v>
                </c:pt>
                <c:pt idx="137">
                  <c:v>72444</c:v>
                </c:pt>
                <c:pt idx="138">
                  <c:v>72875</c:v>
                </c:pt>
                <c:pt idx="139">
                  <c:v>73351</c:v>
                </c:pt>
                <c:pt idx="140">
                  <c:v>73897</c:v>
                </c:pt>
                <c:pt idx="141">
                  <c:v>74406</c:v>
                </c:pt>
                <c:pt idx="142">
                  <c:v>74617</c:v>
                </c:pt>
                <c:pt idx="143">
                  <c:v>74767</c:v>
                </c:pt>
                <c:pt idx="144">
                  <c:v>75154</c:v>
                </c:pt>
                <c:pt idx="145">
                  <c:v>75567</c:v>
                </c:pt>
                <c:pt idx="146">
                  <c:v>76026</c:v>
                </c:pt>
                <c:pt idx="147">
                  <c:v>76467</c:v>
                </c:pt>
                <c:pt idx="148">
                  <c:v>76919</c:v>
                </c:pt>
                <c:pt idx="149">
                  <c:v>77095</c:v>
                </c:pt>
                <c:pt idx="150">
                  <c:v>77210</c:v>
                </c:pt>
                <c:pt idx="151">
                  <c:v>77501</c:v>
                </c:pt>
                <c:pt idx="152">
                  <c:v>77829</c:v>
                </c:pt>
                <c:pt idx="153">
                  <c:v>78242</c:v>
                </c:pt>
                <c:pt idx="154">
                  <c:v>78617</c:v>
                </c:pt>
                <c:pt idx="155">
                  <c:v>79054</c:v>
                </c:pt>
                <c:pt idx="156">
                  <c:v>79238</c:v>
                </c:pt>
                <c:pt idx="157">
                  <c:v>79403</c:v>
                </c:pt>
                <c:pt idx="158">
                  <c:v>79743</c:v>
                </c:pt>
                <c:pt idx="159">
                  <c:v>80116</c:v>
                </c:pt>
                <c:pt idx="160">
                  <c:v>80569</c:v>
                </c:pt>
                <c:pt idx="161">
                  <c:v>80985</c:v>
                </c:pt>
                <c:pt idx="162">
                  <c:v>81444</c:v>
                </c:pt>
                <c:pt idx="163">
                  <c:v>81702</c:v>
                </c:pt>
                <c:pt idx="164">
                  <c:v>81942</c:v>
                </c:pt>
                <c:pt idx="165">
                  <c:v>82418</c:v>
                </c:pt>
                <c:pt idx="166">
                  <c:v>82963</c:v>
                </c:pt>
                <c:pt idx="167">
                  <c:v>83444</c:v>
                </c:pt>
                <c:pt idx="168">
                  <c:v>83877</c:v>
                </c:pt>
                <c:pt idx="169">
                  <c:v>84336</c:v>
                </c:pt>
                <c:pt idx="170">
                  <c:v>84623</c:v>
                </c:pt>
                <c:pt idx="171">
                  <c:v>84848</c:v>
                </c:pt>
                <c:pt idx="172">
                  <c:v>85205</c:v>
                </c:pt>
                <c:pt idx="173">
                  <c:v>85633</c:v>
                </c:pt>
                <c:pt idx="174">
                  <c:v>86022</c:v>
                </c:pt>
                <c:pt idx="175">
                  <c:v>86387</c:v>
                </c:pt>
                <c:pt idx="176">
                  <c:v>86764</c:v>
                </c:pt>
                <c:pt idx="177">
                  <c:v>86951</c:v>
                </c:pt>
                <c:pt idx="178">
                  <c:v>87092</c:v>
                </c:pt>
                <c:pt idx="179">
                  <c:v>87384</c:v>
                </c:pt>
                <c:pt idx="180">
                  <c:v>87703</c:v>
                </c:pt>
                <c:pt idx="181">
                  <c:v>87958</c:v>
                </c:pt>
                <c:pt idx="182">
                  <c:v>88248</c:v>
                </c:pt>
                <c:pt idx="183">
                  <c:v>88502</c:v>
                </c:pt>
                <c:pt idx="184">
                  <c:v>88653</c:v>
                </c:pt>
                <c:pt idx="185">
                  <c:v>88763</c:v>
                </c:pt>
                <c:pt idx="186">
                  <c:v>89033</c:v>
                </c:pt>
                <c:pt idx="187">
                  <c:v>89280</c:v>
                </c:pt>
                <c:pt idx="188">
                  <c:v>89522</c:v>
                </c:pt>
                <c:pt idx="189">
                  <c:v>89699</c:v>
                </c:pt>
                <c:pt idx="190">
                  <c:v>89932</c:v>
                </c:pt>
                <c:pt idx="191">
                  <c:v>89985</c:v>
                </c:pt>
                <c:pt idx="192">
                  <c:v>90044</c:v>
                </c:pt>
                <c:pt idx="193">
                  <c:v>90101</c:v>
                </c:pt>
                <c:pt idx="194">
                  <c:v>90158</c:v>
                </c:pt>
                <c:pt idx="195">
                  <c:v>90367</c:v>
                </c:pt>
                <c:pt idx="196">
                  <c:v>90581</c:v>
                </c:pt>
                <c:pt idx="197">
                  <c:v>90807</c:v>
                </c:pt>
                <c:pt idx="198">
                  <c:v>90900</c:v>
                </c:pt>
                <c:pt idx="199">
                  <c:v>90958</c:v>
                </c:pt>
                <c:pt idx="200">
                  <c:v>91194</c:v>
                </c:pt>
                <c:pt idx="201">
                  <c:v>91413</c:v>
                </c:pt>
                <c:pt idx="202">
                  <c:v>91648</c:v>
                </c:pt>
                <c:pt idx="203">
                  <c:v>91895</c:v>
                </c:pt>
                <c:pt idx="204">
                  <c:v>92144</c:v>
                </c:pt>
                <c:pt idx="205">
                  <c:v>92253</c:v>
                </c:pt>
                <c:pt idx="206">
                  <c:v>92322</c:v>
                </c:pt>
                <c:pt idx="207">
                  <c:v>92523</c:v>
                </c:pt>
                <c:pt idx="208">
                  <c:v>92683</c:v>
                </c:pt>
                <c:pt idx="209">
                  <c:v>92903</c:v>
                </c:pt>
                <c:pt idx="210">
                  <c:v>93084</c:v>
                </c:pt>
                <c:pt idx="211">
                  <c:v>93296</c:v>
                </c:pt>
                <c:pt idx="212">
                  <c:v>93358</c:v>
                </c:pt>
                <c:pt idx="213">
                  <c:v>93412</c:v>
                </c:pt>
                <c:pt idx="214">
                  <c:v>93592</c:v>
                </c:pt>
                <c:pt idx="215">
                  <c:v>93792</c:v>
                </c:pt>
                <c:pt idx="216">
                  <c:v>93967</c:v>
                </c:pt>
                <c:pt idx="217">
                  <c:v>94126</c:v>
                </c:pt>
                <c:pt idx="218">
                  <c:v>94334</c:v>
                </c:pt>
                <c:pt idx="219">
                  <c:v>94400</c:v>
                </c:pt>
                <c:pt idx="220">
                  <c:v>94449</c:v>
                </c:pt>
                <c:pt idx="221">
                  <c:v>94595</c:v>
                </c:pt>
                <c:pt idx="222">
                  <c:v>94725</c:v>
                </c:pt>
                <c:pt idx="223">
                  <c:v>94870</c:v>
                </c:pt>
                <c:pt idx="224">
                  <c:v>94996</c:v>
                </c:pt>
                <c:pt idx="225">
                  <c:v>95124</c:v>
                </c:pt>
                <c:pt idx="226">
                  <c:v>95162</c:v>
                </c:pt>
                <c:pt idx="227">
                  <c:v>95196</c:v>
                </c:pt>
                <c:pt idx="228">
                  <c:v>95299</c:v>
                </c:pt>
                <c:pt idx="229">
                  <c:v>95414</c:v>
                </c:pt>
                <c:pt idx="230">
                  <c:v>95487</c:v>
                </c:pt>
                <c:pt idx="231">
                  <c:v>95590</c:v>
                </c:pt>
                <c:pt idx="232">
                  <c:v>95694</c:v>
                </c:pt>
                <c:pt idx="233">
                  <c:v>95720</c:v>
                </c:pt>
                <c:pt idx="234">
                  <c:v>95739</c:v>
                </c:pt>
                <c:pt idx="235">
                  <c:v>95820</c:v>
                </c:pt>
                <c:pt idx="236">
                  <c:v>95898</c:v>
                </c:pt>
                <c:pt idx="237">
                  <c:v>95976</c:v>
                </c:pt>
                <c:pt idx="238">
                  <c:v>96047</c:v>
                </c:pt>
                <c:pt idx="239">
                  <c:v>96144</c:v>
                </c:pt>
                <c:pt idx="240">
                  <c:v>96162</c:v>
                </c:pt>
                <c:pt idx="241">
                  <c:v>96181</c:v>
                </c:pt>
                <c:pt idx="242">
                  <c:v>96274</c:v>
                </c:pt>
                <c:pt idx="243">
                  <c:v>96350</c:v>
                </c:pt>
                <c:pt idx="244">
                  <c:v>96425</c:v>
                </c:pt>
                <c:pt idx="245">
                  <c:v>96488</c:v>
                </c:pt>
                <c:pt idx="246">
                  <c:v>96589</c:v>
                </c:pt>
                <c:pt idx="247">
                  <c:v>96615</c:v>
                </c:pt>
                <c:pt idx="248">
                  <c:v>96625</c:v>
                </c:pt>
                <c:pt idx="249">
                  <c:v>96702</c:v>
                </c:pt>
                <c:pt idx="250">
                  <c:v>96780</c:v>
                </c:pt>
                <c:pt idx="251">
                  <c:v>96826</c:v>
                </c:pt>
                <c:pt idx="252">
                  <c:v>96899</c:v>
                </c:pt>
                <c:pt idx="253">
                  <c:v>96993</c:v>
                </c:pt>
                <c:pt idx="254">
                  <c:v>97008</c:v>
                </c:pt>
                <c:pt idx="255">
                  <c:v>97026</c:v>
                </c:pt>
                <c:pt idx="256">
                  <c:v>97090</c:v>
                </c:pt>
                <c:pt idx="257">
                  <c:v>97125</c:v>
                </c:pt>
                <c:pt idx="258">
                  <c:v>97178</c:v>
                </c:pt>
                <c:pt idx="259">
                  <c:v>97237</c:v>
                </c:pt>
                <c:pt idx="260">
                  <c:v>97306</c:v>
                </c:pt>
                <c:pt idx="261">
                  <c:v>97321</c:v>
                </c:pt>
                <c:pt idx="262">
                  <c:v>97334</c:v>
                </c:pt>
                <c:pt idx="263">
                  <c:v>97382</c:v>
                </c:pt>
                <c:pt idx="264">
                  <c:v>97433</c:v>
                </c:pt>
                <c:pt idx="265">
                  <c:v>97477</c:v>
                </c:pt>
                <c:pt idx="266">
                  <c:v>97523</c:v>
                </c:pt>
                <c:pt idx="267">
                  <c:v>97595</c:v>
                </c:pt>
                <c:pt idx="268">
                  <c:v>97614</c:v>
                </c:pt>
                <c:pt idx="269">
                  <c:v>97620</c:v>
                </c:pt>
                <c:pt idx="270">
                  <c:v>97664</c:v>
                </c:pt>
                <c:pt idx="271">
                  <c:v>97711</c:v>
                </c:pt>
                <c:pt idx="272">
                  <c:v>97753</c:v>
                </c:pt>
                <c:pt idx="273">
                  <c:v>97809</c:v>
                </c:pt>
                <c:pt idx="274">
                  <c:v>97878</c:v>
                </c:pt>
                <c:pt idx="275">
                  <c:v>97894</c:v>
                </c:pt>
                <c:pt idx="276">
                  <c:v>97900</c:v>
                </c:pt>
                <c:pt idx="277">
                  <c:v>97942</c:v>
                </c:pt>
                <c:pt idx="278">
                  <c:v>97948</c:v>
                </c:pt>
                <c:pt idx="279">
                  <c:v>97975</c:v>
                </c:pt>
                <c:pt idx="280">
                  <c:v>98021</c:v>
                </c:pt>
                <c:pt idx="281">
                  <c:v>98059</c:v>
                </c:pt>
                <c:pt idx="282">
                  <c:v>98067</c:v>
                </c:pt>
                <c:pt idx="283">
                  <c:v>98074</c:v>
                </c:pt>
                <c:pt idx="284">
                  <c:v>98104</c:v>
                </c:pt>
                <c:pt idx="285">
                  <c:v>98132</c:v>
                </c:pt>
                <c:pt idx="286">
                  <c:v>98168</c:v>
                </c:pt>
                <c:pt idx="287">
                  <c:v>98192</c:v>
                </c:pt>
                <c:pt idx="288">
                  <c:v>98239</c:v>
                </c:pt>
                <c:pt idx="289">
                  <c:v>98248</c:v>
                </c:pt>
                <c:pt idx="290">
                  <c:v>98255</c:v>
                </c:pt>
                <c:pt idx="291">
                  <c:v>98282</c:v>
                </c:pt>
                <c:pt idx="292">
                  <c:v>98328</c:v>
                </c:pt>
                <c:pt idx="293">
                  <c:v>98363</c:v>
                </c:pt>
                <c:pt idx="294">
                  <c:v>98391</c:v>
                </c:pt>
                <c:pt idx="295">
                  <c:v>98448</c:v>
                </c:pt>
                <c:pt idx="296">
                  <c:v>98465</c:v>
                </c:pt>
                <c:pt idx="297">
                  <c:v>98476</c:v>
                </c:pt>
                <c:pt idx="298">
                  <c:v>98533</c:v>
                </c:pt>
                <c:pt idx="299">
                  <c:v>98565</c:v>
                </c:pt>
                <c:pt idx="300">
                  <c:v>98624</c:v>
                </c:pt>
                <c:pt idx="301">
                  <c:v>98723</c:v>
                </c:pt>
                <c:pt idx="302">
                  <c:v>98866</c:v>
                </c:pt>
                <c:pt idx="303">
                  <c:v>98916</c:v>
                </c:pt>
                <c:pt idx="304">
                  <c:v>98950</c:v>
                </c:pt>
                <c:pt idx="305">
                  <c:v>99067</c:v>
                </c:pt>
                <c:pt idx="306">
                  <c:v>99220</c:v>
                </c:pt>
                <c:pt idx="307">
                  <c:v>99388</c:v>
                </c:pt>
                <c:pt idx="308">
                  <c:v>99426</c:v>
                </c:pt>
                <c:pt idx="309">
                  <c:v>99604</c:v>
                </c:pt>
                <c:pt idx="310">
                  <c:v>99654</c:v>
                </c:pt>
                <c:pt idx="311">
                  <c:v>99687</c:v>
                </c:pt>
                <c:pt idx="312">
                  <c:v>99889</c:v>
                </c:pt>
                <c:pt idx="313">
                  <c:v>100060</c:v>
                </c:pt>
                <c:pt idx="314">
                  <c:v>100246</c:v>
                </c:pt>
                <c:pt idx="315">
                  <c:v>100454</c:v>
                </c:pt>
                <c:pt idx="316">
                  <c:v>100704</c:v>
                </c:pt>
                <c:pt idx="317">
                  <c:v>100776</c:v>
                </c:pt>
                <c:pt idx="318">
                  <c:v>100819</c:v>
                </c:pt>
                <c:pt idx="319">
                  <c:v>100998</c:v>
                </c:pt>
                <c:pt idx="320">
                  <c:v>101145</c:v>
                </c:pt>
                <c:pt idx="321">
                  <c:v>101310</c:v>
                </c:pt>
                <c:pt idx="322">
                  <c:v>101492</c:v>
                </c:pt>
                <c:pt idx="323">
                  <c:v>101753</c:v>
                </c:pt>
                <c:pt idx="324">
                  <c:v>101806</c:v>
                </c:pt>
                <c:pt idx="325">
                  <c:v>101845</c:v>
                </c:pt>
                <c:pt idx="326">
                  <c:v>102024</c:v>
                </c:pt>
                <c:pt idx="327">
                  <c:v>102232</c:v>
                </c:pt>
                <c:pt idx="328">
                  <c:v>102270</c:v>
                </c:pt>
                <c:pt idx="329">
                  <c:v>102510</c:v>
                </c:pt>
                <c:pt idx="330">
                  <c:v>102780</c:v>
                </c:pt>
                <c:pt idx="331">
                  <c:v>102856</c:v>
                </c:pt>
                <c:pt idx="332">
                  <c:v>102920</c:v>
                </c:pt>
                <c:pt idx="333">
                  <c:v>103099</c:v>
                </c:pt>
                <c:pt idx="334">
                  <c:v>103284</c:v>
                </c:pt>
                <c:pt idx="335">
                  <c:v>103472</c:v>
                </c:pt>
                <c:pt idx="336">
                  <c:v>1036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B2-46E3-85FE-A83BCF6CC085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round/>
            </a:ln>
            <a:effectLst/>
          </c:spPr>
          <c:marker>
            <c:symbol val="none"/>
          </c:marker>
          <c:cat>
            <c:strRef>
              <c:f>List1!$F$1:$MD$1</c:f>
              <c:strCache>
                <c:ptCount val="337"/>
                <c:pt idx="0">
                  <c:v>24-XII.</c:v>
                </c:pt>
                <c:pt idx="1">
                  <c:v>25-XII.</c:v>
                </c:pt>
                <c:pt idx="2">
                  <c:v>26-XII.</c:v>
                </c:pt>
                <c:pt idx="3">
                  <c:v>27-XII.</c:v>
                </c:pt>
                <c:pt idx="4">
                  <c:v>28-XII.</c:v>
                </c:pt>
                <c:pt idx="5">
                  <c:v>29-XII.</c:v>
                </c:pt>
                <c:pt idx="6">
                  <c:v>30-XII.</c:v>
                </c:pt>
                <c:pt idx="7">
                  <c:v>31-XII.</c:v>
                </c:pt>
                <c:pt idx="8">
                  <c:v>1-I.</c:v>
                </c:pt>
                <c:pt idx="9">
                  <c:v>2-I.</c:v>
                </c:pt>
                <c:pt idx="10">
                  <c:v>3-I.</c:v>
                </c:pt>
                <c:pt idx="11">
                  <c:v>4-I.</c:v>
                </c:pt>
                <c:pt idx="12">
                  <c:v>5-I.</c:v>
                </c:pt>
                <c:pt idx="13">
                  <c:v>6-I.</c:v>
                </c:pt>
                <c:pt idx="14">
                  <c:v>7-I.</c:v>
                </c:pt>
                <c:pt idx="15">
                  <c:v>8-I.</c:v>
                </c:pt>
                <c:pt idx="16">
                  <c:v>9-I.</c:v>
                </c:pt>
                <c:pt idx="17">
                  <c:v>10-I.</c:v>
                </c:pt>
                <c:pt idx="18">
                  <c:v>11-I.</c:v>
                </c:pt>
                <c:pt idx="19">
                  <c:v>12-I.</c:v>
                </c:pt>
                <c:pt idx="20">
                  <c:v>13-I.</c:v>
                </c:pt>
                <c:pt idx="21">
                  <c:v>14-I.</c:v>
                </c:pt>
                <c:pt idx="22">
                  <c:v>15-I.</c:v>
                </c:pt>
                <c:pt idx="23">
                  <c:v>16-I.</c:v>
                </c:pt>
                <c:pt idx="24">
                  <c:v>17-I.</c:v>
                </c:pt>
                <c:pt idx="25">
                  <c:v>18-I.</c:v>
                </c:pt>
                <c:pt idx="26">
                  <c:v>19-I.</c:v>
                </c:pt>
                <c:pt idx="27">
                  <c:v>20-I.</c:v>
                </c:pt>
                <c:pt idx="28">
                  <c:v>21-I.</c:v>
                </c:pt>
                <c:pt idx="29">
                  <c:v>22-I.</c:v>
                </c:pt>
                <c:pt idx="30">
                  <c:v>23-I.</c:v>
                </c:pt>
                <c:pt idx="31">
                  <c:v>24-I.</c:v>
                </c:pt>
                <c:pt idx="32">
                  <c:v>25-I.</c:v>
                </c:pt>
                <c:pt idx="33">
                  <c:v>26-I.</c:v>
                </c:pt>
                <c:pt idx="34">
                  <c:v>27-I.</c:v>
                </c:pt>
                <c:pt idx="35">
                  <c:v>28-I.</c:v>
                </c:pt>
                <c:pt idx="36">
                  <c:v>29-I.</c:v>
                </c:pt>
                <c:pt idx="37">
                  <c:v>30-I.</c:v>
                </c:pt>
                <c:pt idx="38">
                  <c:v>31-I.</c:v>
                </c:pt>
                <c:pt idx="39">
                  <c:v>1-II.</c:v>
                </c:pt>
                <c:pt idx="40">
                  <c:v>2-II.</c:v>
                </c:pt>
                <c:pt idx="41">
                  <c:v>3-II.</c:v>
                </c:pt>
                <c:pt idx="42">
                  <c:v>4-II.</c:v>
                </c:pt>
                <c:pt idx="43">
                  <c:v>5-II.</c:v>
                </c:pt>
                <c:pt idx="44">
                  <c:v>6-II.</c:v>
                </c:pt>
                <c:pt idx="45">
                  <c:v>7-II.</c:v>
                </c:pt>
                <c:pt idx="46">
                  <c:v>8-II.</c:v>
                </c:pt>
                <c:pt idx="47">
                  <c:v>9-II.</c:v>
                </c:pt>
                <c:pt idx="48">
                  <c:v>10-II.</c:v>
                </c:pt>
                <c:pt idx="49">
                  <c:v>11-II.</c:v>
                </c:pt>
                <c:pt idx="50">
                  <c:v>12-II.</c:v>
                </c:pt>
                <c:pt idx="51">
                  <c:v>13-II.</c:v>
                </c:pt>
                <c:pt idx="52">
                  <c:v>14-II.</c:v>
                </c:pt>
                <c:pt idx="53">
                  <c:v>15-II.</c:v>
                </c:pt>
                <c:pt idx="54">
                  <c:v>16-II.</c:v>
                </c:pt>
                <c:pt idx="55">
                  <c:v>17-II.</c:v>
                </c:pt>
                <c:pt idx="56">
                  <c:v>18-II.</c:v>
                </c:pt>
                <c:pt idx="57">
                  <c:v>19-II.</c:v>
                </c:pt>
                <c:pt idx="58">
                  <c:v>20-II.</c:v>
                </c:pt>
                <c:pt idx="59">
                  <c:v>21-II.</c:v>
                </c:pt>
                <c:pt idx="60">
                  <c:v>22-II.</c:v>
                </c:pt>
                <c:pt idx="61">
                  <c:v>23-II.</c:v>
                </c:pt>
                <c:pt idx="62">
                  <c:v>24-II.</c:v>
                </c:pt>
                <c:pt idx="63">
                  <c:v>25-II.</c:v>
                </c:pt>
                <c:pt idx="64">
                  <c:v>26-II.</c:v>
                </c:pt>
                <c:pt idx="65">
                  <c:v>27-II.</c:v>
                </c:pt>
                <c:pt idx="66">
                  <c:v>28-II.</c:v>
                </c:pt>
                <c:pt idx="67">
                  <c:v>1-III.</c:v>
                </c:pt>
                <c:pt idx="68">
                  <c:v>2-III.</c:v>
                </c:pt>
                <c:pt idx="69">
                  <c:v>3-III.</c:v>
                </c:pt>
                <c:pt idx="70">
                  <c:v>4-III.</c:v>
                </c:pt>
                <c:pt idx="71">
                  <c:v>5-III.</c:v>
                </c:pt>
                <c:pt idx="72">
                  <c:v>6-III.</c:v>
                </c:pt>
                <c:pt idx="73">
                  <c:v>7-III.</c:v>
                </c:pt>
                <c:pt idx="74">
                  <c:v>8-III.</c:v>
                </c:pt>
                <c:pt idx="75">
                  <c:v>9-III.</c:v>
                </c:pt>
                <c:pt idx="76">
                  <c:v>10-III.</c:v>
                </c:pt>
                <c:pt idx="77">
                  <c:v>11-III.</c:v>
                </c:pt>
                <c:pt idx="78">
                  <c:v>12-III.</c:v>
                </c:pt>
                <c:pt idx="79">
                  <c:v>13-III.</c:v>
                </c:pt>
                <c:pt idx="80">
                  <c:v>14-III.</c:v>
                </c:pt>
                <c:pt idx="81">
                  <c:v>15-III.</c:v>
                </c:pt>
                <c:pt idx="82">
                  <c:v>16-III.</c:v>
                </c:pt>
                <c:pt idx="83">
                  <c:v>17-III.</c:v>
                </c:pt>
                <c:pt idx="84">
                  <c:v>18-III.</c:v>
                </c:pt>
                <c:pt idx="85">
                  <c:v>19-III.</c:v>
                </c:pt>
                <c:pt idx="86">
                  <c:v>20-III.</c:v>
                </c:pt>
                <c:pt idx="87">
                  <c:v>21-III.</c:v>
                </c:pt>
                <c:pt idx="88">
                  <c:v>22-III.</c:v>
                </c:pt>
                <c:pt idx="89">
                  <c:v>23-III.</c:v>
                </c:pt>
                <c:pt idx="90">
                  <c:v>24-III.</c:v>
                </c:pt>
                <c:pt idx="91">
                  <c:v>25-III.</c:v>
                </c:pt>
                <c:pt idx="92">
                  <c:v>26-III.</c:v>
                </c:pt>
                <c:pt idx="93">
                  <c:v>27-III.</c:v>
                </c:pt>
                <c:pt idx="94">
                  <c:v>28-III.</c:v>
                </c:pt>
                <c:pt idx="95">
                  <c:v>29-III.</c:v>
                </c:pt>
                <c:pt idx="96">
                  <c:v>30-III.</c:v>
                </c:pt>
                <c:pt idx="97">
                  <c:v>31-III.</c:v>
                </c:pt>
                <c:pt idx="98">
                  <c:v>1-IV.</c:v>
                </c:pt>
                <c:pt idx="99">
                  <c:v>2-IV.</c:v>
                </c:pt>
                <c:pt idx="100">
                  <c:v>3-IV.</c:v>
                </c:pt>
                <c:pt idx="101">
                  <c:v>4-IV.</c:v>
                </c:pt>
                <c:pt idx="102">
                  <c:v>5-IV.</c:v>
                </c:pt>
                <c:pt idx="103">
                  <c:v>6-IV.</c:v>
                </c:pt>
                <c:pt idx="104">
                  <c:v>7-IV.</c:v>
                </c:pt>
                <c:pt idx="105">
                  <c:v>8-IV.</c:v>
                </c:pt>
                <c:pt idx="106">
                  <c:v>9-IV.</c:v>
                </c:pt>
                <c:pt idx="107">
                  <c:v>10-IV.</c:v>
                </c:pt>
                <c:pt idx="108">
                  <c:v>11-IV.</c:v>
                </c:pt>
                <c:pt idx="109">
                  <c:v>12-IV.</c:v>
                </c:pt>
                <c:pt idx="110">
                  <c:v>13-IV.</c:v>
                </c:pt>
                <c:pt idx="111">
                  <c:v>14-IV.</c:v>
                </c:pt>
                <c:pt idx="112">
                  <c:v>15-IV.</c:v>
                </c:pt>
                <c:pt idx="113">
                  <c:v>16-IV.</c:v>
                </c:pt>
                <c:pt idx="114">
                  <c:v>17-IV.</c:v>
                </c:pt>
                <c:pt idx="115">
                  <c:v>18-IV.</c:v>
                </c:pt>
                <c:pt idx="116">
                  <c:v>19-IV.</c:v>
                </c:pt>
                <c:pt idx="117">
                  <c:v>20-IV.</c:v>
                </c:pt>
                <c:pt idx="118">
                  <c:v>21-IV.</c:v>
                </c:pt>
                <c:pt idx="119">
                  <c:v>22-IV.</c:v>
                </c:pt>
                <c:pt idx="120">
                  <c:v>23-IV.</c:v>
                </c:pt>
                <c:pt idx="121">
                  <c:v>24-IV.</c:v>
                </c:pt>
                <c:pt idx="122">
                  <c:v>25-IV.</c:v>
                </c:pt>
                <c:pt idx="123">
                  <c:v>26-IV.</c:v>
                </c:pt>
                <c:pt idx="124">
                  <c:v>27-IV.</c:v>
                </c:pt>
                <c:pt idx="125">
                  <c:v>28-IV.</c:v>
                </c:pt>
                <c:pt idx="126">
                  <c:v>29-IV.</c:v>
                </c:pt>
                <c:pt idx="127">
                  <c:v>30-IV.</c:v>
                </c:pt>
                <c:pt idx="128">
                  <c:v>1-V.</c:v>
                </c:pt>
                <c:pt idx="129">
                  <c:v>2-V.</c:v>
                </c:pt>
                <c:pt idx="130">
                  <c:v>3-V.</c:v>
                </c:pt>
                <c:pt idx="131">
                  <c:v>4-V.</c:v>
                </c:pt>
                <c:pt idx="132">
                  <c:v>5-V.</c:v>
                </c:pt>
                <c:pt idx="133">
                  <c:v>6-V.</c:v>
                </c:pt>
                <c:pt idx="134">
                  <c:v>7-V.</c:v>
                </c:pt>
                <c:pt idx="135">
                  <c:v>8-V.</c:v>
                </c:pt>
                <c:pt idx="136">
                  <c:v>9-V.</c:v>
                </c:pt>
                <c:pt idx="137">
                  <c:v>10-V.</c:v>
                </c:pt>
                <c:pt idx="138">
                  <c:v>11-V.</c:v>
                </c:pt>
                <c:pt idx="139">
                  <c:v>12-V.</c:v>
                </c:pt>
                <c:pt idx="140">
                  <c:v>13-V.</c:v>
                </c:pt>
                <c:pt idx="141">
                  <c:v>14-V.</c:v>
                </c:pt>
                <c:pt idx="142">
                  <c:v>15-V.</c:v>
                </c:pt>
                <c:pt idx="143">
                  <c:v>16-V.</c:v>
                </c:pt>
                <c:pt idx="144">
                  <c:v>17-V.</c:v>
                </c:pt>
                <c:pt idx="145">
                  <c:v>18-V.</c:v>
                </c:pt>
                <c:pt idx="146">
                  <c:v>19-V.</c:v>
                </c:pt>
                <c:pt idx="147">
                  <c:v>20-V.</c:v>
                </c:pt>
                <c:pt idx="148">
                  <c:v>21-V.</c:v>
                </c:pt>
                <c:pt idx="149">
                  <c:v>22-V.</c:v>
                </c:pt>
                <c:pt idx="150">
                  <c:v>23-V.</c:v>
                </c:pt>
                <c:pt idx="151">
                  <c:v>24-V.</c:v>
                </c:pt>
                <c:pt idx="152">
                  <c:v>25-V.</c:v>
                </c:pt>
                <c:pt idx="153">
                  <c:v>26-V.</c:v>
                </c:pt>
                <c:pt idx="154">
                  <c:v>27-V.</c:v>
                </c:pt>
                <c:pt idx="155">
                  <c:v>28-V.</c:v>
                </c:pt>
                <c:pt idx="156">
                  <c:v>29-V.</c:v>
                </c:pt>
                <c:pt idx="157">
                  <c:v>30-V.</c:v>
                </c:pt>
                <c:pt idx="158">
                  <c:v>31-V.</c:v>
                </c:pt>
                <c:pt idx="159">
                  <c:v>1-VI.</c:v>
                </c:pt>
                <c:pt idx="160">
                  <c:v>2-VI.</c:v>
                </c:pt>
                <c:pt idx="161">
                  <c:v>3-VI.</c:v>
                </c:pt>
                <c:pt idx="162">
                  <c:v>4-VI.</c:v>
                </c:pt>
                <c:pt idx="163">
                  <c:v>5-VI.</c:v>
                </c:pt>
                <c:pt idx="164">
                  <c:v>6-VI.</c:v>
                </c:pt>
                <c:pt idx="165">
                  <c:v>7-VI.</c:v>
                </c:pt>
                <c:pt idx="166">
                  <c:v>8-VI.</c:v>
                </c:pt>
                <c:pt idx="167">
                  <c:v>9-VI.</c:v>
                </c:pt>
                <c:pt idx="168">
                  <c:v>10-VI.</c:v>
                </c:pt>
                <c:pt idx="169">
                  <c:v>11-VI.</c:v>
                </c:pt>
                <c:pt idx="170">
                  <c:v>12-VI.</c:v>
                </c:pt>
                <c:pt idx="171">
                  <c:v>13-VI.</c:v>
                </c:pt>
                <c:pt idx="172">
                  <c:v>14-VI.</c:v>
                </c:pt>
                <c:pt idx="173">
                  <c:v>15-VI.</c:v>
                </c:pt>
                <c:pt idx="174">
                  <c:v>16-VI.</c:v>
                </c:pt>
                <c:pt idx="175">
                  <c:v>17-VI.</c:v>
                </c:pt>
                <c:pt idx="176">
                  <c:v>18-VI.</c:v>
                </c:pt>
                <c:pt idx="177">
                  <c:v>19-VI.</c:v>
                </c:pt>
                <c:pt idx="178">
                  <c:v>20-VI.</c:v>
                </c:pt>
                <c:pt idx="179">
                  <c:v>21-VI.</c:v>
                </c:pt>
                <c:pt idx="180">
                  <c:v>22-VI.</c:v>
                </c:pt>
                <c:pt idx="181">
                  <c:v>23-VI.</c:v>
                </c:pt>
                <c:pt idx="182">
                  <c:v>24-VI.</c:v>
                </c:pt>
                <c:pt idx="183">
                  <c:v>25-VI.</c:v>
                </c:pt>
                <c:pt idx="184">
                  <c:v>26-VI.</c:v>
                </c:pt>
                <c:pt idx="185">
                  <c:v>27-VI.</c:v>
                </c:pt>
                <c:pt idx="186">
                  <c:v>28-VI.</c:v>
                </c:pt>
                <c:pt idx="187">
                  <c:v>29-VI.</c:v>
                </c:pt>
                <c:pt idx="188">
                  <c:v>30-VI.</c:v>
                </c:pt>
                <c:pt idx="189">
                  <c:v>1-VII.</c:v>
                </c:pt>
                <c:pt idx="190">
                  <c:v>2-VII.</c:v>
                </c:pt>
                <c:pt idx="191">
                  <c:v>3-VII.</c:v>
                </c:pt>
                <c:pt idx="192">
                  <c:v>4-VII.</c:v>
                </c:pt>
                <c:pt idx="193">
                  <c:v>5-VII.</c:v>
                </c:pt>
                <c:pt idx="194">
                  <c:v>6-VII.</c:v>
                </c:pt>
                <c:pt idx="195">
                  <c:v>7-VII.</c:v>
                </c:pt>
                <c:pt idx="196">
                  <c:v>8-VII.</c:v>
                </c:pt>
                <c:pt idx="197">
                  <c:v>9-VII.</c:v>
                </c:pt>
                <c:pt idx="198">
                  <c:v>10-VII.</c:v>
                </c:pt>
                <c:pt idx="199">
                  <c:v>11-VII.</c:v>
                </c:pt>
                <c:pt idx="200">
                  <c:v>12-VII.</c:v>
                </c:pt>
                <c:pt idx="201">
                  <c:v>13-VII.</c:v>
                </c:pt>
                <c:pt idx="202">
                  <c:v>14-VII.</c:v>
                </c:pt>
                <c:pt idx="203">
                  <c:v>15-VII.</c:v>
                </c:pt>
                <c:pt idx="204">
                  <c:v>16-VII.</c:v>
                </c:pt>
                <c:pt idx="205">
                  <c:v>17-VII.</c:v>
                </c:pt>
                <c:pt idx="206">
                  <c:v>18-VII.</c:v>
                </c:pt>
                <c:pt idx="207">
                  <c:v>19-VII.</c:v>
                </c:pt>
                <c:pt idx="208">
                  <c:v>20-VII.</c:v>
                </c:pt>
                <c:pt idx="209">
                  <c:v>21-VII.</c:v>
                </c:pt>
                <c:pt idx="210">
                  <c:v>22-VII.</c:v>
                </c:pt>
                <c:pt idx="211">
                  <c:v>23-VII.</c:v>
                </c:pt>
                <c:pt idx="212">
                  <c:v>24-VII.</c:v>
                </c:pt>
                <c:pt idx="213">
                  <c:v>25-VII.</c:v>
                </c:pt>
                <c:pt idx="214">
                  <c:v>26-VII.</c:v>
                </c:pt>
                <c:pt idx="215">
                  <c:v>27-VII.</c:v>
                </c:pt>
                <c:pt idx="216">
                  <c:v>28-VII.</c:v>
                </c:pt>
                <c:pt idx="217">
                  <c:v>29-VII.</c:v>
                </c:pt>
                <c:pt idx="218">
                  <c:v>30-VII.</c:v>
                </c:pt>
                <c:pt idx="219">
                  <c:v>31-VII.</c:v>
                </c:pt>
                <c:pt idx="220">
                  <c:v>1-VIII.</c:v>
                </c:pt>
                <c:pt idx="221">
                  <c:v>2-VIII.</c:v>
                </c:pt>
                <c:pt idx="222">
                  <c:v>3-VIII.</c:v>
                </c:pt>
                <c:pt idx="223">
                  <c:v>4-VIII.</c:v>
                </c:pt>
                <c:pt idx="224">
                  <c:v>5-VIII.</c:v>
                </c:pt>
                <c:pt idx="225">
                  <c:v>6-VIII.</c:v>
                </c:pt>
                <c:pt idx="226">
                  <c:v>7-VIII.</c:v>
                </c:pt>
                <c:pt idx="227">
                  <c:v>8-VIII.</c:v>
                </c:pt>
                <c:pt idx="228">
                  <c:v>9-VIII.</c:v>
                </c:pt>
                <c:pt idx="229">
                  <c:v>10-VIII.</c:v>
                </c:pt>
                <c:pt idx="230">
                  <c:v>11-VIII.</c:v>
                </c:pt>
                <c:pt idx="231">
                  <c:v>12-VIII.</c:v>
                </c:pt>
                <c:pt idx="232">
                  <c:v>13-VIII.</c:v>
                </c:pt>
                <c:pt idx="233">
                  <c:v>14-VIII.</c:v>
                </c:pt>
                <c:pt idx="234">
                  <c:v>15-VIII.</c:v>
                </c:pt>
                <c:pt idx="235">
                  <c:v>16-VIII.</c:v>
                </c:pt>
                <c:pt idx="236">
                  <c:v>17-VIII.</c:v>
                </c:pt>
                <c:pt idx="237">
                  <c:v>18-VIII.</c:v>
                </c:pt>
                <c:pt idx="238">
                  <c:v>19-VIII.</c:v>
                </c:pt>
                <c:pt idx="239">
                  <c:v>20-VIII.</c:v>
                </c:pt>
                <c:pt idx="240">
                  <c:v>21-VIII.</c:v>
                </c:pt>
                <c:pt idx="241">
                  <c:v>22-VIII.</c:v>
                </c:pt>
                <c:pt idx="242">
                  <c:v>23-VIII.</c:v>
                </c:pt>
                <c:pt idx="243">
                  <c:v>24-VIII.</c:v>
                </c:pt>
                <c:pt idx="244">
                  <c:v>25-VIII.</c:v>
                </c:pt>
                <c:pt idx="245">
                  <c:v>26-VIII.</c:v>
                </c:pt>
                <c:pt idx="246">
                  <c:v>27-VIII.</c:v>
                </c:pt>
                <c:pt idx="247">
                  <c:v>28-VIII.</c:v>
                </c:pt>
                <c:pt idx="248">
                  <c:v>29-VIII.</c:v>
                </c:pt>
                <c:pt idx="249">
                  <c:v>30-VIII.</c:v>
                </c:pt>
                <c:pt idx="250">
                  <c:v>31-VIII.</c:v>
                </c:pt>
                <c:pt idx="251">
                  <c:v>1-IX.</c:v>
                </c:pt>
                <c:pt idx="252">
                  <c:v>2-IX.</c:v>
                </c:pt>
                <c:pt idx="253">
                  <c:v>3-IX.</c:v>
                </c:pt>
                <c:pt idx="254">
                  <c:v>4-IX.</c:v>
                </c:pt>
                <c:pt idx="255">
                  <c:v>5-IX.</c:v>
                </c:pt>
                <c:pt idx="256">
                  <c:v>6-IX.</c:v>
                </c:pt>
                <c:pt idx="257">
                  <c:v>7-IX.</c:v>
                </c:pt>
                <c:pt idx="258">
                  <c:v>8-IX.</c:v>
                </c:pt>
                <c:pt idx="259">
                  <c:v>9-IX.</c:v>
                </c:pt>
                <c:pt idx="260">
                  <c:v>10-IX.</c:v>
                </c:pt>
                <c:pt idx="261">
                  <c:v>11-IX.</c:v>
                </c:pt>
                <c:pt idx="262">
                  <c:v>12-IX.</c:v>
                </c:pt>
                <c:pt idx="263">
                  <c:v>13-IX.</c:v>
                </c:pt>
                <c:pt idx="264">
                  <c:v>14-IX.</c:v>
                </c:pt>
                <c:pt idx="265">
                  <c:v>15-IX.</c:v>
                </c:pt>
                <c:pt idx="266">
                  <c:v>16-IX.</c:v>
                </c:pt>
                <c:pt idx="267">
                  <c:v>17-IX.</c:v>
                </c:pt>
                <c:pt idx="268">
                  <c:v>18-IX.</c:v>
                </c:pt>
                <c:pt idx="269">
                  <c:v>19-IX.</c:v>
                </c:pt>
                <c:pt idx="270">
                  <c:v>20-IX.</c:v>
                </c:pt>
                <c:pt idx="271">
                  <c:v>21-IX.</c:v>
                </c:pt>
                <c:pt idx="272">
                  <c:v>22-IX.</c:v>
                </c:pt>
                <c:pt idx="273">
                  <c:v>23-IX.</c:v>
                </c:pt>
                <c:pt idx="274">
                  <c:v>24-IX.</c:v>
                </c:pt>
                <c:pt idx="275">
                  <c:v>25-IX.</c:v>
                </c:pt>
                <c:pt idx="276">
                  <c:v>26-IX.</c:v>
                </c:pt>
                <c:pt idx="277">
                  <c:v>27-IX.</c:v>
                </c:pt>
                <c:pt idx="278">
                  <c:v>28-IX.</c:v>
                </c:pt>
                <c:pt idx="279">
                  <c:v>29-IX.</c:v>
                </c:pt>
                <c:pt idx="280">
                  <c:v>30-IX.</c:v>
                </c:pt>
                <c:pt idx="281">
                  <c:v>1-X.</c:v>
                </c:pt>
                <c:pt idx="282">
                  <c:v>2-X.</c:v>
                </c:pt>
                <c:pt idx="283">
                  <c:v>3-X.</c:v>
                </c:pt>
                <c:pt idx="284">
                  <c:v>4-X.</c:v>
                </c:pt>
                <c:pt idx="285">
                  <c:v>5-X.</c:v>
                </c:pt>
                <c:pt idx="286">
                  <c:v>6-X.</c:v>
                </c:pt>
                <c:pt idx="287">
                  <c:v>7-X.</c:v>
                </c:pt>
                <c:pt idx="288">
                  <c:v>8-X.</c:v>
                </c:pt>
                <c:pt idx="289">
                  <c:v>9-X.</c:v>
                </c:pt>
                <c:pt idx="290">
                  <c:v>10-X.</c:v>
                </c:pt>
                <c:pt idx="291">
                  <c:v>11-X.</c:v>
                </c:pt>
                <c:pt idx="292">
                  <c:v>12-X.</c:v>
                </c:pt>
                <c:pt idx="293">
                  <c:v>13-X.</c:v>
                </c:pt>
                <c:pt idx="294">
                  <c:v>14-X.</c:v>
                </c:pt>
                <c:pt idx="295">
                  <c:v>15-X.</c:v>
                </c:pt>
                <c:pt idx="296">
                  <c:v>16-X.</c:v>
                </c:pt>
                <c:pt idx="297">
                  <c:v>17-X.</c:v>
                </c:pt>
                <c:pt idx="298">
                  <c:v>18-X.</c:v>
                </c:pt>
                <c:pt idx="299">
                  <c:v>19-X.</c:v>
                </c:pt>
                <c:pt idx="300">
                  <c:v>20-X.</c:v>
                </c:pt>
                <c:pt idx="301">
                  <c:v>21-X.</c:v>
                </c:pt>
                <c:pt idx="302">
                  <c:v>22-X.</c:v>
                </c:pt>
                <c:pt idx="303">
                  <c:v>23-X.</c:v>
                </c:pt>
                <c:pt idx="304">
                  <c:v>24-X.</c:v>
                </c:pt>
                <c:pt idx="305">
                  <c:v>25-X.</c:v>
                </c:pt>
                <c:pt idx="306">
                  <c:v>26-X.</c:v>
                </c:pt>
                <c:pt idx="307">
                  <c:v>27-X.</c:v>
                </c:pt>
                <c:pt idx="308">
                  <c:v>28-X.</c:v>
                </c:pt>
                <c:pt idx="309">
                  <c:v>29-X.</c:v>
                </c:pt>
                <c:pt idx="310">
                  <c:v>30-X.</c:v>
                </c:pt>
                <c:pt idx="311">
                  <c:v>31-X.</c:v>
                </c:pt>
                <c:pt idx="312">
                  <c:v>1-XI.</c:v>
                </c:pt>
                <c:pt idx="313">
                  <c:v>2-XI.</c:v>
                </c:pt>
                <c:pt idx="314">
                  <c:v>3-XI.</c:v>
                </c:pt>
                <c:pt idx="315">
                  <c:v>4-XI.</c:v>
                </c:pt>
                <c:pt idx="316">
                  <c:v>5-XI.</c:v>
                </c:pt>
                <c:pt idx="317">
                  <c:v>6-XI.</c:v>
                </c:pt>
                <c:pt idx="318">
                  <c:v>7-XI.</c:v>
                </c:pt>
                <c:pt idx="319">
                  <c:v>8-XI.</c:v>
                </c:pt>
                <c:pt idx="320">
                  <c:v>9-XI.</c:v>
                </c:pt>
                <c:pt idx="321">
                  <c:v>10-XI.</c:v>
                </c:pt>
                <c:pt idx="322">
                  <c:v>11-XI.</c:v>
                </c:pt>
                <c:pt idx="323">
                  <c:v>12-XI.</c:v>
                </c:pt>
                <c:pt idx="324">
                  <c:v>13-XI.</c:v>
                </c:pt>
                <c:pt idx="325">
                  <c:v>14-XI.</c:v>
                </c:pt>
                <c:pt idx="326">
                  <c:v>15-XI.</c:v>
                </c:pt>
                <c:pt idx="327">
                  <c:v>16-XI.</c:v>
                </c:pt>
                <c:pt idx="328">
                  <c:v>17-XI.</c:v>
                </c:pt>
                <c:pt idx="329">
                  <c:v>18-XI.</c:v>
                </c:pt>
                <c:pt idx="330">
                  <c:v>19-XI.</c:v>
                </c:pt>
                <c:pt idx="331">
                  <c:v>20-XI.</c:v>
                </c:pt>
                <c:pt idx="332">
                  <c:v>21-XI.</c:v>
                </c:pt>
                <c:pt idx="333">
                  <c:v>22-XI.</c:v>
                </c:pt>
                <c:pt idx="334">
                  <c:v>23-XI.</c:v>
                </c:pt>
                <c:pt idx="335">
                  <c:v>24-XI.</c:v>
                </c:pt>
                <c:pt idx="336">
                  <c:v>25-XI.</c:v>
                </c:pt>
              </c:strCache>
            </c:strRef>
          </c:cat>
          <c:val>
            <c:numRef>
              <c:f>List1!$F$5:$MD$5</c:f>
              <c:numCache>
                <c:formatCode>General</c:formatCode>
                <c:ptCount val="337"/>
                <c:pt idx="3">
                  <c:v>445</c:v>
                </c:pt>
                <c:pt idx="4">
                  <c:v>1177</c:v>
                </c:pt>
                <c:pt idx="5">
                  <c:v>2123</c:v>
                </c:pt>
                <c:pt idx="6">
                  <c:v>3066</c:v>
                </c:pt>
                <c:pt idx="7">
                  <c:v>3404</c:v>
                </c:pt>
                <c:pt idx="8">
                  <c:v>3493</c:v>
                </c:pt>
                <c:pt idx="9">
                  <c:v>3887</c:v>
                </c:pt>
                <c:pt idx="10">
                  <c:v>4200</c:v>
                </c:pt>
                <c:pt idx="11">
                  <c:v>5399</c:v>
                </c:pt>
                <c:pt idx="12">
                  <c:v>6716</c:v>
                </c:pt>
                <c:pt idx="13">
                  <c:v>8212</c:v>
                </c:pt>
                <c:pt idx="14">
                  <c:v>9889</c:v>
                </c:pt>
                <c:pt idx="15">
                  <c:v>11701</c:v>
                </c:pt>
                <c:pt idx="16">
                  <c:v>12108</c:v>
                </c:pt>
                <c:pt idx="17">
                  <c:v>12400</c:v>
                </c:pt>
                <c:pt idx="18">
                  <c:v>14147</c:v>
                </c:pt>
                <c:pt idx="19">
                  <c:v>16100</c:v>
                </c:pt>
                <c:pt idx="20">
                  <c:v>17804</c:v>
                </c:pt>
                <c:pt idx="21">
                  <c:v>19709</c:v>
                </c:pt>
                <c:pt idx="22">
                  <c:v>21514</c:v>
                </c:pt>
                <c:pt idx="23">
                  <c:v>21849</c:v>
                </c:pt>
                <c:pt idx="24">
                  <c:v>22075</c:v>
                </c:pt>
                <c:pt idx="25">
                  <c:v>23637</c:v>
                </c:pt>
                <c:pt idx="26">
                  <c:v>24822</c:v>
                </c:pt>
                <c:pt idx="27">
                  <c:v>25950</c:v>
                </c:pt>
                <c:pt idx="28">
                  <c:v>26952</c:v>
                </c:pt>
                <c:pt idx="29">
                  <c:v>27782</c:v>
                </c:pt>
                <c:pt idx="30">
                  <c:v>27952</c:v>
                </c:pt>
                <c:pt idx="31">
                  <c:v>28034</c:v>
                </c:pt>
                <c:pt idx="32">
                  <c:v>28543</c:v>
                </c:pt>
                <c:pt idx="33">
                  <c:v>29084</c:v>
                </c:pt>
                <c:pt idx="34">
                  <c:v>29483</c:v>
                </c:pt>
                <c:pt idx="35">
                  <c:v>29861</c:v>
                </c:pt>
                <c:pt idx="36">
                  <c:v>30191</c:v>
                </c:pt>
                <c:pt idx="37">
                  <c:v>30216</c:v>
                </c:pt>
                <c:pt idx="38">
                  <c:v>30237</c:v>
                </c:pt>
                <c:pt idx="39">
                  <c:v>30481</c:v>
                </c:pt>
                <c:pt idx="40">
                  <c:v>30716</c:v>
                </c:pt>
                <c:pt idx="41">
                  <c:v>30937</c:v>
                </c:pt>
                <c:pt idx="42">
                  <c:v>31132</c:v>
                </c:pt>
                <c:pt idx="43">
                  <c:v>31407</c:v>
                </c:pt>
                <c:pt idx="44">
                  <c:v>31426</c:v>
                </c:pt>
                <c:pt idx="45">
                  <c:v>31438</c:v>
                </c:pt>
                <c:pt idx="46">
                  <c:v>31574</c:v>
                </c:pt>
                <c:pt idx="47">
                  <c:v>31712</c:v>
                </c:pt>
                <c:pt idx="48">
                  <c:v>31907</c:v>
                </c:pt>
                <c:pt idx="49">
                  <c:v>32138</c:v>
                </c:pt>
                <c:pt idx="50">
                  <c:v>32417</c:v>
                </c:pt>
                <c:pt idx="51">
                  <c:v>32516</c:v>
                </c:pt>
                <c:pt idx="52">
                  <c:v>32581</c:v>
                </c:pt>
                <c:pt idx="53">
                  <c:v>32939</c:v>
                </c:pt>
                <c:pt idx="54">
                  <c:v>33237</c:v>
                </c:pt>
                <c:pt idx="55">
                  <c:v>33498</c:v>
                </c:pt>
                <c:pt idx="56">
                  <c:v>33837</c:v>
                </c:pt>
                <c:pt idx="57">
                  <c:v>34284</c:v>
                </c:pt>
                <c:pt idx="58">
                  <c:v>34390</c:v>
                </c:pt>
                <c:pt idx="59">
                  <c:v>34437</c:v>
                </c:pt>
                <c:pt idx="60">
                  <c:v>34747</c:v>
                </c:pt>
                <c:pt idx="61">
                  <c:v>35228</c:v>
                </c:pt>
                <c:pt idx="62">
                  <c:v>35828</c:v>
                </c:pt>
                <c:pt idx="63">
                  <c:v>36483</c:v>
                </c:pt>
                <c:pt idx="64">
                  <c:v>37026</c:v>
                </c:pt>
                <c:pt idx="65">
                  <c:v>37100</c:v>
                </c:pt>
                <c:pt idx="66">
                  <c:v>37143</c:v>
                </c:pt>
                <c:pt idx="67">
                  <c:v>37690</c:v>
                </c:pt>
                <c:pt idx="68">
                  <c:v>38286</c:v>
                </c:pt>
                <c:pt idx="69">
                  <c:v>38847</c:v>
                </c:pt>
                <c:pt idx="70">
                  <c:v>39391</c:v>
                </c:pt>
                <c:pt idx="71">
                  <c:v>39985</c:v>
                </c:pt>
                <c:pt idx="72">
                  <c:v>40152</c:v>
                </c:pt>
                <c:pt idx="73">
                  <c:v>40260</c:v>
                </c:pt>
                <c:pt idx="74">
                  <c:v>40586</c:v>
                </c:pt>
                <c:pt idx="75">
                  <c:v>40983</c:v>
                </c:pt>
                <c:pt idx="76">
                  <c:v>41388</c:v>
                </c:pt>
                <c:pt idx="77">
                  <c:v>41865</c:v>
                </c:pt>
                <c:pt idx="78">
                  <c:v>42271</c:v>
                </c:pt>
                <c:pt idx="79">
                  <c:v>42409</c:v>
                </c:pt>
                <c:pt idx="80">
                  <c:v>42494</c:v>
                </c:pt>
                <c:pt idx="81">
                  <c:v>42747</c:v>
                </c:pt>
                <c:pt idx="82">
                  <c:v>43109</c:v>
                </c:pt>
                <c:pt idx="83">
                  <c:v>43467</c:v>
                </c:pt>
                <c:pt idx="84">
                  <c:v>43824</c:v>
                </c:pt>
                <c:pt idx="85">
                  <c:v>44152</c:v>
                </c:pt>
                <c:pt idx="86">
                  <c:v>44268</c:v>
                </c:pt>
                <c:pt idx="87">
                  <c:v>44337</c:v>
                </c:pt>
                <c:pt idx="88">
                  <c:v>44511</c:v>
                </c:pt>
                <c:pt idx="89">
                  <c:v>44704</c:v>
                </c:pt>
                <c:pt idx="90">
                  <c:v>44850</c:v>
                </c:pt>
                <c:pt idx="91">
                  <c:v>45042</c:v>
                </c:pt>
                <c:pt idx="92">
                  <c:v>45260</c:v>
                </c:pt>
                <c:pt idx="93">
                  <c:v>45323</c:v>
                </c:pt>
                <c:pt idx="94">
                  <c:v>45365</c:v>
                </c:pt>
                <c:pt idx="95">
                  <c:v>45490</c:v>
                </c:pt>
                <c:pt idx="96">
                  <c:v>45650</c:v>
                </c:pt>
                <c:pt idx="97">
                  <c:v>45810</c:v>
                </c:pt>
                <c:pt idx="98">
                  <c:v>46029</c:v>
                </c:pt>
                <c:pt idx="99">
                  <c:v>46105</c:v>
                </c:pt>
                <c:pt idx="100">
                  <c:v>46125</c:v>
                </c:pt>
                <c:pt idx="101">
                  <c:v>46154</c:v>
                </c:pt>
                <c:pt idx="102">
                  <c:v>46161</c:v>
                </c:pt>
                <c:pt idx="103">
                  <c:v>46251</c:v>
                </c:pt>
                <c:pt idx="104">
                  <c:v>46345</c:v>
                </c:pt>
                <c:pt idx="105">
                  <c:v>46514</c:v>
                </c:pt>
                <c:pt idx="106">
                  <c:v>46715</c:v>
                </c:pt>
                <c:pt idx="107">
                  <c:v>46761</c:v>
                </c:pt>
                <c:pt idx="108">
                  <c:v>46794</c:v>
                </c:pt>
                <c:pt idx="109">
                  <c:v>46931</c:v>
                </c:pt>
                <c:pt idx="110">
                  <c:v>47051</c:v>
                </c:pt>
                <c:pt idx="111">
                  <c:v>47156</c:v>
                </c:pt>
                <c:pt idx="112">
                  <c:v>47312</c:v>
                </c:pt>
                <c:pt idx="113">
                  <c:v>47486</c:v>
                </c:pt>
                <c:pt idx="114">
                  <c:v>47527</c:v>
                </c:pt>
                <c:pt idx="115">
                  <c:v>47582</c:v>
                </c:pt>
                <c:pt idx="116">
                  <c:v>47709</c:v>
                </c:pt>
                <c:pt idx="117">
                  <c:v>47828</c:v>
                </c:pt>
                <c:pt idx="118">
                  <c:v>47962</c:v>
                </c:pt>
                <c:pt idx="119">
                  <c:v>48108</c:v>
                </c:pt>
                <c:pt idx="120">
                  <c:v>48264</c:v>
                </c:pt>
                <c:pt idx="121">
                  <c:v>48320</c:v>
                </c:pt>
                <c:pt idx="122">
                  <c:v>48357</c:v>
                </c:pt>
                <c:pt idx="123">
                  <c:v>48471</c:v>
                </c:pt>
                <c:pt idx="124">
                  <c:v>48591</c:v>
                </c:pt>
                <c:pt idx="125">
                  <c:v>48711</c:v>
                </c:pt>
                <c:pt idx="126">
                  <c:v>48841</c:v>
                </c:pt>
                <c:pt idx="127">
                  <c:v>48979</c:v>
                </c:pt>
                <c:pt idx="128">
                  <c:v>49008</c:v>
                </c:pt>
                <c:pt idx="129">
                  <c:v>49038</c:v>
                </c:pt>
                <c:pt idx="130">
                  <c:v>49159</c:v>
                </c:pt>
                <c:pt idx="131">
                  <c:v>49285</c:v>
                </c:pt>
                <c:pt idx="132">
                  <c:v>49381</c:v>
                </c:pt>
                <c:pt idx="133">
                  <c:v>49498</c:v>
                </c:pt>
                <c:pt idx="134">
                  <c:v>49669</c:v>
                </c:pt>
                <c:pt idx="135">
                  <c:v>49731</c:v>
                </c:pt>
                <c:pt idx="136">
                  <c:v>49763</c:v>
                </c:pt>
                <c:pt idx="137">
                  <c:v>49862</c:v>
                </c:pt>
                <c:pt idx="138">
                  <c:v>49977</c:v>
                </c:pt>
                <c:pt idx="139">
                  <c:v>50109</c:v>
                </c:pt>
                <c:pt idx="140">
                  <c:v>50266</c:v>
                </c:pt>
                <c:pt idx="141">
                  <c:v>50394</c:v>
                </c:pt>
                <c:pt idx="142">
                  <c:v>50465</c:v>
                </c:pt>
                <c:pt idx="143">
                  <c:v>50496</c:v>
                </c:pt>
                <c:pt idx="144">
                  <c:v>50579</c:v>
                </c:pt>
                <c:pt idx="145">
                  <c:v>50672</c:v>
                </c:pt>
                <c:pt idx="146">
                  <c:v>50757</c:v>
                </c:pt>
                <c:pt idx="147">
                  <c:v>50857</c:v>
                </c:pt>
                <c:pt idx="148">
                  <c:v>50964</c:v>
                </c:pt>
                <c:pt idx="149">
                  <c:v>50995</c:v>
                </c:pt>
                <c:pt idx="150">
                  <c:v>51010</c:v>
                </c:pt>
                <c:pt idx="151">
                  <c:v>51060</c:v>
                </c:pt>
                <c:pt idx="152">
                  <c:v>51123</c:v>
                </c:pt>
                <c:pt idx="153">
                  <c:v>51215</c:v>
                </c:pt>
                <c:pt idx="154">
                  <c:v>51296</c:v>
                </c:pt>
                <c:pt idx="155">
                  <c:v>51400</c:v>
                </c:pt>
                <c:pt idx="156">
                  <c:v>51437</c:v>
                </c:pt>
                <c:pt idx="157">
                  <c:v>51470</c:v>
                </c:pt>
                <c:pt idx="158">
                  <c:v>51545</c:v>
                </c:pt>
                <c:pt idx="159">
                  <c:v>51627</c:v>
                </c:pt>
                <c:pt idx="160">
                  <c:v>51723</c:v>
                </c:pt>
                <c:pt idx="161">
                  <c:v>51793</c:v>
                </c:pt>
                <c:pt idx="162">
                  <c:v>51890</c:v>
                </c:pt>
                <c:pt idx="163">
                  <c:v>51917</c:v>
                </c:pt>
                <c:pt idx="164">
                  <c:v>51950</c:v>
                </c:pt>
                <c:pt idx="165">
                  <c:v>52031</c:v>
                </c:pt>
                <c:pt idx="166">
                  <c:v>52128</c:v>
                </c:pt>
                <c:pt idx="167">
                  <c:v>52214</c:v>
                </c:pt>
                <c:pt idx="168">
                  <c:v>52301</c:v>
                </c:pt>
                <c:pt idx="169">
                  <c:v>52396</c:v>
                </c:pt>
                <c:pt idx="170">
                  <c:v>52425</c:v>
                </c:pt>
                <c:pt idx="171">
                  <c:v>52455</c:v>
                </c:pt>
                <c:pt idx="172">
                  <c:v>52526</c:v>
                </c:pt>
                <c:pt idx="173">
                  <c:v>52581</c:v>
                </c:pt>
                <c:pt idx="174">
                  <c:v>52656</c:v>
                </c:pt>
                <c:pt idx="175">
                  <c:v>52732</c:v>
                </c:pt>
                <c:pt idx="176">
                  <c:v>52810</c:v>
                </c:pt>
                <c:pt idx="177">
                  <c:v>52838</c:v>
                </c:pt>
                <c:pt idx="178">
                  <c:v>52863</c:v>
                </c:pt>
                <c:pt idx="179">
                  <c:v>52902</c:v>
                </c:pt>
                <c:pt idx="180">
                  <c:v>52952</c:v>
                </c:pt>
                <c:pt idx="181">
                  <c:v>53005</c:v>
                </c:pt>
                <c:pt idx="182">
                  <c:v>53056</c:v>
                </c:pt>
                <c:pt idx="183">
                  <c:v>53112</c:v>
                </c:pt>
                <c:pt idx="184">
                  <c:v>53126</c:v>
                </c:pt>
                <c:pt idx="185">
                  <c:v>53138</c:v>
                </c:pt>
                <c:pt idx="186">
                  <c:v>53182</c:v>
                </c:pt>
                <c:pt idx="187">
                  <c:v>53228</c:v>
                </c:pt>
                <c:pt idx="188">
                  <c:v>53286</c:v>
                </c:pt>
                <c:pt idx="189">
                  <c:v>53330</c:v>
                </c:pt>
                <c:pt idx="190">
                  <c:v>53385</c:v>
                </c:pt>
                <c:pt idx="191">
                  <c:v>53397</c:v>
                </c:pt>
                <c:pt idx="192">
                  <c:v>53409</c:v>
                </c:pt>
                <c:pt idx="193">
                  <c:v>53415</c:v>
                </c:pt>
                <c:pt idx="194">
                  <c:v>53424</c:v>
                </c:pt>
                <c:pt idx="195">
                  <c:v>53464</c:v>
                </c:pt>
                <c:pt idx="196">
                  <c:v>53519</c:v>
                </c:pt>
                <c:pt idx="197">
                  <c:v>53567</c:v>
                </c:pt>
                <c:pt idx="198">
                  <c:v>53582</c:v>
                </c:pt>
                <c:pt idx="199">
                  <c:v>53596</c:v>
                </c:pt>
                <c:pt idx="200">
                  <c:v>53644</c:v>
                </c:pt>
                <c:pt idx="201">
                  <c:v>53687</c:v>
                </c:pt>
                <c:pt idx="202">
                  <c:v>53733</c:v>
                </c:pt>
                <c:pt idx="203">
                  <c:v>53791</c:v>
                </c:pt>
                <c:pt idx="204">
                  <c:v>53846</c:v>
                </c:pt>
                <c:pt idx="205">
                  <c:v>53868</c:v>
                </c:pt>
                <c:pt idx="206">
                  <c:v>53887</c:v>
                </c:pt>
                <c:pt idx="207">
                  <c:v>53936</c:v>
                </c:pt>
                <c:pt idx="208">
                  <c:v>53981</c:v>
                </c:pt>
                <c:pt idx="209">
                  <c:v>54049</c:v>
                </c:pt>
                <c:pt idx="210">
                  <c:v>54087</c:v>
                </c:pt>
                <c:pt idx="211">
                  <c:v>54120</c:v>
                </c:pt>
                <c:pt idx="212">
                  <c:v>54126</c:v>
                </c:pt>
                <c:pt idx="213">
                  <c:v>54135</c:v>
                </c:pt>
                <c:pt idx="214">
                  <c:v>54175</c:v>
                </c:pt>
                <c:pt idx="215">
                  <c:v>54229</c:v>
                </c:pt>
                <c:pt idx="216">
                  <c:v>54264</c:v>
                </c:pt>
                <c:pt idx="217">
                  <c:v>54292</c:v>
                </c:pt>
                <c:pt idx="218">
                  <c:v>54337</c:v>
                </c:pt>
                <c:pt idx="219">
                  <c:v>54354</c:v>
                </c:pt>
                <c:pt idx="220">
                  <c:v>54367</c:v>
                </c:pt>
                <c:pt idx="221">
                  <c:v>54404</c:v>
                </c:pt>
                <c:pt idx="222">
                  <c:v>54430</c:v>
                </c:pt>
                <c:pt idx="223">
                  <c:v>54470</c:v>
                </c:pt>
                <c:pt idx="224">
                  <c:v>54501</c:v>
                </c:pt>
                <c:pt idx="225">
                  <c:v>54534</c:v>
                </c:pt>
                <c:pt idx="226">
                  <c:v>54547</c:v>
                </c:pt>
                <c:pt idx="227">
                  <c:v>54552</c:v>
                </c:pt>
                <c:pt idx="228">
                  <c:v>54574</c:v>
                </c:pt>
                <c:pt idx="229">
                  <c:v>54589</c:v>
                </c:pt>
                <c:pt idx="230">
                  <c:v>54609</c:v>
                </c:pt>
                <c:pt idx="231">
                  <c:v>54632</c:v>
                </c:pt>
                <c:pt idx="232">
                  <c:v>54657</c:v>
                </c:pt>
                <c:pt idx="233">
                  <c:v>54667</c:v>
                </c:pt>
                <c:pt idx="234">
                  <c:v>54672</c:v>
                </c:pt>
                <c:pt idx="235">
                  <c:v>54689</c:v>
                </c:pt>
                <c:pt idx="236">
                  <c:v>54713</c:v>
                </c:pt>
                <c:pt idx="237">
                  <c:v>54735</c:v>
                </c:pt>
                <c:pt idx="238">
                  <c:v>54757</c:v>
                </c:pt>
                <c:pt idx="239">
                  <c:v>54790</c:v>
                </c:pt>
                <c:pt idx="240">
                  <c:v>54800</c:v>
                </c:pt>
                <c:pt idx="241">
                  <c:v>54803</c:v>
                </c:pt>
                <c:pt idx="242">
                  <c:v>54814</c:v>
                </c:pt>
                <c:pt idx="243">
                  <c:v>54843</c:v>
                </c:pt>
                <c:pt idx="244">
                  <c:v>54867</c:v>
                </c:pt>
                <c:pt idx="245">
                  <c:v>54894</c:v>
                </c:pt>
                <c:pt idx="246">
                  <c:v>54922</c:v>
                </c:pt>
                <c:pt idx="247">
                  <c:v>54924</c:v>
                </c:pt>
                <c:pt idx="248">
                  <c:v>54931</c:v>
                </c:pt>
                <c:pt idx="249">
                  <c:v>54952</c:v>
                </c:pt>
                <c:pt idx="250">
                  <c:v>54977</c:v>
                </c:pt>
                <c:pt idx="251">
                  <c:v>54997</c:v>
                </c:pt>
                <c:pt idx="252">
                  <c:v>55025</c:v>
                </c:pt>
                <c:pt idx="253">
                  <c:v>55051</c:v>
                </c:pt>
                <c:pt idx="254">
                  <c:v>55059</c:v>
                </c:pt>
                <c:pt idx="255">
                  <c:v>55064</c:v>
                </c:pt>
                <c:pt idx="256">
                  <c:v>55077</c:v>
                </c:pt>
                <c:pt idx="257">
                  <c:v>55090</c:v>
                </c:pt>
                <c:pt idx="258">
                  <c:v>55109</c:v>
                </c:pt>
                <c:pt idx="259">
                  <c:v>55137</c:v>
                </c:pt>
                <c:pt idx="260">
                  <c:v>55162</c:v>
                </c:pt>
                <c:pt idx="261">
                  <c:v>55164</c:v>
                </c:pt>
                <c:pt idx="262">
                  <c:v>55167</c:v>
                </c:pt>
                <c:pt idx="263">
                  <c:v>55186</c:v>
                </c:pt>
                <c:pt idx="264">
                  <c:v>55204</c:v>
                </c:pt>
                <c:pt idx="265">
                  <c:v>55219</c:v>
                </c:pt>
                <c:pt idx="266">
                  <c:v>55237</c:v>
                </c:pt>
                <c:pt idx="267">
                  <c:v>55262</c:v>
                </c:pt>
                <c:pt idx="268">
                  <c:v>55267</c:v>
                </c:pt>
                <c:pt idx="269">
                  <c:v>55267</c:v>
                </c:pt>
                <c:pt idx="270">
                  <c:v>55287</c:v>
                </c:pt>
                <c:pt idx="271">
                  <c:v>55295</c:v>
                </c:pt>
                <c:pt idx="272">
                  <c:v>55305</c:v>
                </c:pt>
                <c:pt idx="273">
                  <c:v>55329</c:v>
                </c:pt>
                <c:pt idx="274">
                  <c:v>55355</c:v>
                </c:pt>
                <c:pt idx="275">
                  <c:v>55361</c:v>
                </c:pt>
                <c:pt idx="276">
                  <c:v>55361</c:v>
                </c:pt>
                <c:pt idx="277">
                  <c:v>55373</c:v>
                </c:pt>
                <c:pt idx="278">
                  <c:v>55373</c:v>
                </c:pt>
                <c:pt idx="279">
                  <c:v>55390</c:v>
                </c:pt>
                <c:pt idx="280">
                  <c:v>55405</c:v>
                </c:pt>
                <c:pt idx="281">
                  <c:v>55425</c:v>
                </c:pt>
                <c:pt idx="282">
                  <c:v>55431</c:v>
                </c:pt>
                <c:pt idx="283">
                  <c:v>55431</c:v>
                </c:pt>
                <c:pt idx="284">
                  <c:v>55441</c:v>
                </c:pt>
                <c:pt idx="285">
                  <c:v>55448</c:v>
                </c:pt>
                <c:pt idx="286">
                  <c:v>55460</c:v>
                </c:pt>
                <c:pt idx="287">
                  <c:v>55478</c:v>
                </c:pt>
                <c:pt idx="288">
                  <c:v>55492</c:v>
                </c:pt>
                <c:pt idx="289">
                  <c:v>55498</c:v>
                </c:pt>
                <c:pt idx="290">
                  <c:v>55498</c:v>
                </c:pt>
                <c:pt idx="291">
                  <c:v>55517</c:v>
                </c:pt>
                <c:pt idx="292">
                  <c:v>55534</c:v>
                </c:pt>
                <c:pt idx="293">
                  <c:v>55541</c:v>
                </c:pt>
                <c:pt idx="294">
                  <c:v>55551</c:v>
                </c:pt>
                <c:pt idx="295">
                  <c:v>55568</c:v>
                </c:pt>
                <c:pt idx="296">
                  <c:v>55570</c:v>
                </c:pt>
                <c:pt idx="297">
                  <c:v>55572</c:v>
                </c:pt>
                <c:pt idx="298">
                  <c:v>55593</c:v>
                </c:pt>
                <c:pt idx="299">
                  <c:v>55599</c:v>
                </c:pt>
                <c:pt idx="300">
                  <c:v>55613</c:v>
                </c:pt>
                <c:pt idx="301">
                  <c:v>55638</c:v>
                </c:pt>
                <c:pt idx="302">
                  <c:v>55677</c:v>
                </c:pt>
                <c:pt idx="303">
                  <c:v>55684</c:v>
                </c:pt>
                <c:pt idx="304">
                  <c:v>55690</c:v>
                </c:pt>
                <c:pt idx="305">
                  <c:v>55711</c:v>
                </c:pt>
                <c:pt idx="306">
                  <c:v>55746</c:v>
                </c:pt>
                <c:pt idx="307">
                  <c:v>55791</c:v>
                </c:pt>
                <c:pt idx="308">
                  <c:v>55798</c:v>
                </c:pt>
                <c:pt idx="309">
                  <c:v>55833</c:v>
                </c:pt>
                <c:pt idx="310">
                  <c:v>55845</c:v>
                </c:pt>
                <c:pt idx="311">
                  <c:v>55848</c:v>
                </c:pt>
                <c:pt idx="312">
                  <c:v>55890</c:v>
                </c:pt>
                <c:pt idx="313">
                  <c:v>55928</c:v>
                </c:pt>
                <c:pt idx="314">
                  <c:v>55963</c:v>
                </c:pt>
                <c:pt idx="315">
                  <c:v>56021</c:v>
                </c:pt>
                <c:pt idx="316">
                  <c:v>56083</c:v>
                </c:pt>
                <c:pt idx="317">
                  <c:v>56107</c:v>
                </c:pt>
                <c:pt idx="318">
                  <c:v>56122</c:v>
                </c:pt>
                <c:pt idx="319">
                  <c:v>56151</c:v>
                </c:pt>
                <c:pt idx="320">
                  <c:v>56187</c:v>
                </c:pt>
                <c:pt idx="321">
                  <c:v>56220</c:v>
                </c:pt>
                <c:pt idx="322">
                  <c:v>56253</c:v>
                </c:pt>
                <c:pt idx="323">
                  <c:v>56315</c:v>
                </c:pt>
                <c:pt idx="324">
                  <c:v>56326</c:v>
                </c:pt>
                <c:pt idx="325">
                  <c:v>56335</c:v>
                </c:pt>
                <c:pt idx="326">
                  <c:v>56378</c:v>
                </c:pt>
                <c:pt idx="327">
                  <c:v>56433</c:v>
                </c:pt>
                <c:pt idx="328">
                  <c:v>56447</c:v>
                </c:pt>
                <c:pt idx="329">
                  <c:v>56491</c:v>
                </c:pt>
                <c:pt idx="330">
                  <c:v>56557</c:v>
                </c:pt>
                <c:pt idx="331">
                  <c:v>56583</c:v>
                </c:pt>
                <c:pt idx="332">
                  <c:v>56594</c:v>
                </c:pt>
                <c:pt idx="333">
                  <c:v>56642</c:v>
                </c:pt>
                <c:pt idx="334">
                  <c:v>56693</c:v>
                </c:pt>
                <c:pt idx="335">
                  <c:v>56728</c:v>
                </c:pt>
                <c:pt idx="336">
                  <c:v>567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783-4536-9939-DB56A099F9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catAx>
        <c:axId val="1335740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Algn val="ctr"/>
        <c:lblOffset val="100"/>
        <c:tickLblSkip val="7"/>
        <c:noMultiLvlLbl val="0"/>
      </c:cat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  <c:majorUnit val="200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797528443005752"/>
          <c:y val="0.28604517875847346"/>
          <c:w val="0.10158527092232689"/>
          <c:h val="0.472888534487277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O$1:$AA$1</c:f>
              <c:strCache>
                <c:ptCount val="13"/>
                <c:pt idx="0">
                  <c:v>27.08 - 02.09</c:v>
                </c:pt>
                <c:pt idx="1">
                  <c:v>03.09 - 09.09</c:v>
                </c:pt>
                <c:pt idx="2">
                  <c:v>10.09 - 16.09</c:v>
                </c:pt>
                <c:pt idx="3">
                  <c:v>17.09 - 23.09</c:v>
                </c:pt>
                <c:pt idx="4">
                  <c:v>24.09 - 30.09</c:v>
                </c:pt>
                <c:pt idx="5">
                  <c:v>01.10 - 07.10</c:v>
                </c:pt>
                <c:pt idx="6">
                  <c:v>08.10 - 14.10</c:v>
                </c:pt>
                <c:pt idx="7">
                  <c:v>15.10 - 21.10</c:v>
                </c:pt>
                <c:pt idx="8">
                  <c:v>22.10 - 28.10</c:v>
                </c:pt>
                <c:pt idx="9">
                  <c:v>29.10 - 04.11</c:v>
                </c:pt>
                <c:pt idx="10">
                  <c:v>05.11 - 11.11</c:v>
                </c:pt>
                <c:pt idx="11">
                  <c:v>12.11 - 18.11</c:v>
                </c:pt>
                <c:pt idx="12">
                  <c:v>19.11 - 25.11</c:v>
                </c:pt>
              </c:strCache>
            </c:strRef>
          </c:cat>
          <c:val>
            <c:numRef>
              <c:f>List1!$O$2:$AA$2</c:f>
              <c:numCache>
                <c:formatCode>General</c:formatCode>
                <c:ptCount val="13"/>
                <c:pt idx="0">
                  <c:v>8.4751507999999998</c:v>
                </c:pt>
                <c:pt idx="1">
                  <c:v>19.170157700000001</c:v>
                </c:pt>
                <c:pt idx="2">
                  <c:v>32.058492600000001</c:v>
                </c:pt>
                <c:pt idx="3">
                  <c:v>52.457066500000003</c:v>
                </c:pt>
                <c:pt idx="4">
                  <c:v>57.924133300000001</c:v>
                </c:pt>
                <c:pt idx="5">
                  <c:v>106.6884139</c:v>
                </c:pt>
                <c:pt idx="6">
                  <c:v>201.74792389999999</c:v>
                </c:pt>
                <c:pt idx="7">
                  <c:v>288.83281979999998</c:v>
                </c:pt>
                <c:pt idx="8">
                  <c:v>291.64345400000002</c:v>
                </c:pt>
                <c:pt idx="9">
                  <c:v>215.98933410000001</c:v>
                </c:pt>
                <c:pt idx="10">
                  <c:v>126.3184839</c:v>
                </c:pt>
                <c:pt idx="11">
                  <c:v>94.011887700000003</c:v>
                </c:pt>
                <c:pt idx="12">
                  <c:v>85.6390535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O$1:$AA$1</c:f>
              <c:strCache>
                <c:ptCount val="13"/>
                <c:pt idx="0">
                  <c:v>27.08 - 02.09</c:v>
                </c:pt>
                <c:pt idx="1">
                  <c:v>03.09 - 09.09</c:v>
                </c:pt>
                <c:pt idx="2">
                  <c:v>10.09 - 16.09</c:v>
                </c:pt>
                <c:pt idx="3">
                  <c:v>17.09 - 23.09</c:v>
                </c:pt>
                <c:pt idx="4">
                  <c:v>24.09 - 30.09</c:v>
                </c:pt>
                <c:pt idx="5">
                  <c:v>01.10 - 07.10</c:v>
                </c:pt>
                <c:pt idx="6">
                  <c:v>08.10 - 14.10</c:v>
                </c:pt>
                <c:pt idx="7">
                  <c:v>15.10 - 21.10</c:v>
                </c:pt>
                <c:pt idx="8">
                  <c:v>22.10 - 28.10</c:v>
                </c:pt>
                <c:pt idx="9">
                  <c:v>29.10 - 04.11</c:v>
                </c:pt>
                <c:pt idx="10">
                  <c:v>05.11 - 11.11</c:v>
                </c:pt>
                <c:pt idx="11">
                  <c:v>12.11 - 18.11</c:v>
                </c:pt>
                <c:pt idx="12">
                  <c:v>19.11 - 25.11</c:v>
                </c:pt>
              </c:strCache>
            </c:strRef>
          </c:cat>
          <c:val>
            <c:numRef>
              <c:f>List1!$O$3:$AA$3</c:f>
              <c:numCache>
                <c:formatCode>General</c:formatCode>
                <c:ptCount val="13"/>
                <c:pt idx="0">
                  <c:v>3.0584354999999999</c:v>
                </c:pt>
                <c:pt idx="1">
                  <c:v>1.9426905999999999</c:v>
                </c:pt>
                <c:pt idx="2">
                  <c:v>3.6000209999999999</c:v>
                </c:pt>
                <c:pt idx="3">
                  <c:v>3.3158972000000002</c:v>
                </c:pt>
                <c:pt idx="4">
                  <c:v>7.4446408000000002</c:v>
                </c:pt>
                <c:pt idx="5">
                  <c:v>5.7828299000000003</c:v>
                </c:pt>
                <c:pt idx="6">
                  <c:v>9.6373864000000005</c:v>
                </c:pt>
                <c:pt idx="7">
                  <c:v>21.476184799999999</c:v>
                </c:pt>
                <c:pt idx="8">
                  <c:v>36.892444699999999</c:v>
                </c:pt>
                <c:pt idx="9">
                  <c:v>63.874014000000003</c:v>
                </c:pt>
                <c:pt idx="10">
                  <c:v>74.634675599999994</c:v>
                </c:pt>
                <c:pt idx="11">
                  <c:v>90.087608099999997</c:v>
                </c:pt>
                <c:pt idx="12">
                  <c:v>103.34649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290</c:f>
              <c:numCache>
                <c:formatCode>m/d/yyyy</c:formatCode>
                <c:ptCount val="156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70</c:v>
                </c:pt>
                <c:pt idx="5">
                  <c:v>44371</c:v>
                </c:pt>
                <c:pt idx="6">
                  <c:v>44373</c:v>
                </c:pt>
                <c:pt idx="7">
                  <c:v>44374</c:v>
                </c:pt>
                <c:pt idx="8">
                  <c:v>44375</c:v>
                </c:pt>
                <c:pt idx="9">
                  <c:v>44376</c:v>
                </c:pt>
                <c:pt idx="10">
                  <c:v>44378</c:v>
                </c:pt>
                <c:pt idx="11">
                  <c:v>44379</c:v>
                </c:pt>
                <c:pt idx="12">
                  <c:v>44381</c:v>
                </c:pt>
                <c:pt idx="13">
                  <c:v>44382</c:v>
                </c:pt>
                <c:pt idx="14">
                  <c:v>44383</c:v>
                </c:pt>
                <c:pt idx="15">
                  <c:v>44384</c:v>
                </c:pt>
                <c:pt idx="16">
                  <c:v>44385</c:v>
                </c:pt>
                <c:pt idx="17">
                  <c:v>44386</c:v>
                </c:pt>
                <c:pt idx="18">
                  <c:v>44387</c:v>
                </c:pt>
                <c:pt idx="19">
                  <c:v>44389</c:v>
                </c:pt>
                <c:pt idx="20">
                  <c:v>44390</c:v>
                </c:pt>
                <c:pt idx="21">
                  <c:v>44391</c:v>
                </c:pt>
                <c:pt idx="22">
                  <c:v>44392</c:v>
                </c:pt>
                <c:pt idx="23">
                  <c:v>44393</c:v>
                </c:pt>
                <c:pt idx="24">
                  <c:v>44394</c:v>
                </c:pt>
                <c:pt idx="25">
                  <c:v>44395</c:v>
                </c:pt>
                <c:pt idx="26">
                  <c:v>44396</c:v>
                </c:pt>
                <c:pt idx="27">
                  <c:v>44397</c:v>
                </c:pt>
                <c:pt idx="28">
                  <c:v>44398</c:v>
                </c:pt>
                <c:pt idx="29">
                  <c:v>44399</c:v>
                </c:pt>
                <c:pt idx="30">
                  <c:v>44400</c:v>
                </c:pt>
                <c:pt idx="31">
                  <c:v>44401</c:v>
                </c:pt>
                <c:pt idx="32">
                  <c:v>44402</c:v>
                </c:pt>
                <c:pt idx="33">
                  <c:v>44403</c:v>
                </c:pt>
                <c:pt idx="34">
                  <c:v>44404</c:v>
                </c:pt>
                <c:pt idx="35">
                  <c:v>44405</c:v>
                </c:pt>
                <c:pt idx="36">
                  <c:v>44406</c:v>
                </c:pt>
                <c:pt idx="37">
                  <c:v>44407</c:v>
                </c:pt>
                <c:pt idx="38">
                  <c:v>44408</c:v>
                </c:pt>
                <c:pt idx="39">
                  <c:v>44409</c:v>
                </c:pt>
                <c:pt idx="40">
                  <c:v>44410</c:v>
                </c:pt>
                <c:pt idx="41">
                  <c:v>44411</c:v>
                </c:pt>
                <c:pt idx="42">
                  <c:v>44412</c:v>
                </c:pt>
                <c:pt idx="43">
                  <c:v>44413</c:v>
                </c:pt>
                <c:pt idx="44">
                  <c:v>44414</c:v>
                </c:pt>
                <c:pt idx="45">
                  <c:v>44415</c:v>
                </c:pt>
                <c:pt idx="46">
                  <c:v>44416</c:v>
                </c:pt>
                <c:pt idx="47">
                  <c:v>44417</c:v>
                </c:pt>
                <c:pt idx="48">
                  <c:v>44418</c:v>
                </c:pt>
                <c:pt idx="49">
                  <c:v>44419</c:v>
                </c:pt>
                <c:pt idx="50">
                  <c:v>44420</c:v>
                </c:pt>
                <c:pt idx="51">
                  <c:v>44421</c:v>
                </c:pt>
                <c:pt idx="52">
                  <c:v>44422</c:v>
                </c:pt>
                <c:pt idx="53">
                  <c:v>44423</c:v>
                </c:pt>
                <c:pt idx="54">
                  <c:v>44424</c:v>
                </c:pt>
                <c:pt idx="55">
                  <c:v>44425</c:v>
                </c:pt>
                <c:pt idx="56">
                  <c:v>44426</c:v>
                </c:pt>
                <c:pt idx="57">
                  <c:v>44427</c:v>
                </c:pt>
                <c:pt idx="58">
                  <c:v>44428</c:v>
                </c:pt>
                <c:pt idx="59">
                  <c:v>44429</c:v>
                </c:pt>
                <c:pt idx="60">
                  <c:v>44430</c:v>
                </c:pt>
                <c:pt idx="61">
                  <c:v>44431</c:v>
                </c:pt>
                <c:pt idx="62">
                  <c:v>44432</c:v>
                </c:pt>
                <c:pt idx="63">
                  <c:v>44433</c:v>
                </c:pt>
                <c:pt idx="64">
                  <c:v>44434</c:v>
                </c:pt>
                <c:pt idx="65">
                  <c:v>44435</c:v>
                </c:pt>
                <c:pt idx="66">
                  <c:v>44436</c:v>
                </c:pt>
                <c:pt idx="67">
                  <c:v>44437</c:v>
                </c:pt>
                <c:pt idx="68">
                  <c:v>44438</c:v>
                </c:pt>
                <c:pt idx="69">
                  <c:v>44439</c:v>
                </c:pt>
                <c:pt idx="70">
                  <c:v>44440</c:v>
                </c:pt>
                <c:pt idx="71">
                  <c:v>44441</c:v>
                </c:pt>
                <c:pt idx="72">
                  <c:v>44442</c:v>
                </c:pt>
                <c:pt idx="73">
                  <c:v>44443</c:v>
                </c:pt>
                <c:pt idx="74">
                  <c:v>44444</c:v>
                </c:pt>
                <c:pt idx="75">
                  <c:v>44445</c:v>
                </c:pt>
                <c:pt idx="76">
                  <c:v>44446</c:v>
                </c:pt>
                <c:pt idx="77">
                  <c:v>44447</c:v>
                </c:pt>
                <c:pt idx="78">
                  <c:v>44448</c:v>
                </c:pt>
                <c:pt idx="79">
                  <c:v>44449</c:v>
                </c:pt>
                <c:pt idx="80">
                  <c:v>44450</c:v>
                </c:pt>
                <c:pt idx="81">
                  <c:v>44451</c:v>
                </c:pt>
                <c:pt idx="82">
                  <c:v>44452</c:v>
                </c:pt>
                <c:pt idx="83">
                  <c:v>44453</c:v>
                </c:pt>
                <c:pt idx="84">
                  <c:v>44454</c:v>
                </c:pt>
                <c:pt idx="85">
                  <c:v>44455</c:v>
                </c:pt>
                <c:pt idx="86">
                  <c:v>44456</c:v>
                </c:pt>
                <c:pt idx="87">
                  <c:v>44457</c:v>
                </c:pt>
                <c:pt idx="88">
                  <c:v>44458</c:v>
                </c:pt>
                <c:pt idx="89">
                  <c:v>44459</c:v>
                </c:pt>
                <c:pt idx="90">
                  <c:v>44460</c:v>
                </c:pt>
                <c:pt idx="91">
                  <c:v>44461</c:v>
                </c:pt>
                <c:pt idx="92">
                  <c:v>44462</c:v>
                </c:pt>
                <c:pt idx="93">
                  <c:v>44463</c:v>
                </c:pt>
                <c:pt idx="94">
                  <c:v>44464</c:v>
                </c:pt>
                <c:pt idx="95">
                  <c:v>44465</c:v>
                </c:pt>
                <c:pt idx="96">
                  <c:v>44466</c:v>
                </c:pt>
                <c:pt idx="97">
                  <c:v>44467</c:v>
                </c:pt>
                <c:pt idx="98">
                  <c:v>44468</c:v>
                </c:pt>
                <c:pt idx="99">
                  <c:v>44469</c:v>
                </c:pt>
                <c:pt idx="100">
                  <c:v>44470</c:v>
                </c:pt>
                <c:pt idx="101">
                  <c:v>44471</c:v>
                </c:pt>
                <c:pt idx="102">
                  <c:v>44472</c:v>
                </c:pt>
                <c:pt idx="103">
                  <c:v>44473</c:v>
                </c:pt>
                <c:pt idx="104">
                  <c:v>44474</c:v>
                </c:pt>
                <c:pt idx="105">
                  <c:v>44475</c:v>
                </c:pt>
                <c:pt idx="106">
                  <c:v>44476</c:v>
                </c:pt>
                <c:pt idx="107">
                  <c:v>44477</c:v>
                </c:pt>
                <c:pt idx="108">
                  <c:v>44478</c:v>
                </c:pt>
                <c:pt idx="109">
                  <c:v>44479</c:v>
                </c:pt>
                <c:pt idx="110">
                  <c:v>44480</c:v>
                </c:pt>
                <c:pt idx="111">
                  <c:v>44481</c:v>
                </c:pt>
                <c:pt idx="112">
                  <c:v>44482</c:v>
                </c:pt>
                <c:pt idx="113">
                  <c:v>44483</c:v>
                </c:pt>
                <c:pt idx="114">
                  <c:v>44484</c:v>
                </c:pt>
                <c:pt idx="115">
                  <c:v>44485</c:v>
                </c:pt>
                <c:pt idx="116">
                  <c:v>44486</c:v>
                </c:pt>
                <c:pt idx="117">
                  <c:v>44487</c:v>
                </c:pt>
                <c:pt idx="118">
                  <c:v>44488</c:v>
                </c:pt>
                <c:pt idx="119">
                  <c:v>44489</c:v>
                </c:pt>
                <c:pt idx="120">
                  <c:v>44490</c:v>
                </c:pt>
                <c:pt idx="121">
                  <c:v>44491</c:v>
                </c:pt>
                <c:pt idx="122">
                  <c:v>44492</c:v>
                </c:pt>
                <c:pt idx="123">
                  <c:v>44493</c:v>
                </c:pt>
                <c:pt idx="124">
                  <c:v>44494</c:v>
                </c:pt>
                <c:pt idx="125">
                  <c:v>44495</c:v>
                </c:pt>
                <c:pt idx="126">
                  <c:v>44496</c:v>
                </c:pt>
                <c:pt idx="127">
                  <c:v>44497</c:v>
                </c:pt>
                <c:pt idx="128">
                  <c:v>44498</c:v>
                </c:pt>
                <c:pt idx="129">
                  <c:v>44499</c:v>
                </c:pt>
                <c:pt idx="130">
                  <c:v>44500</c:v>
                </c:pt>
                <c:pt idx="131">
                  <c:v>44501</c:v>
                </c:pt>
                <c:pt idx="132">
                  <c:v>44502</c:v>
                </c:pt>
                <c:pt idx="133">
                  <c:v>44503</c:v>
                </c:pt>
                <c:pt idx="134">
                  <c:v>44504</c:v>
                </c:pt>
                <c:pt idx="135">
                  <c:v>44505</c:v>
                </c:pt>
                <c:pt idx="136">
                  <c:v>44506</c:v>
                </c:pt>
                <c:pt idx="137">
                  <c:v>44507</c:v>
                </c:pt>
                <c:pt idx="138">
                  <c:v>44508</c:v>
                </c:pt>
                <c:pt idx="139">
                  <c:v>44509</c:v>
                </c:pt>
                <c:pt idx="140">
                  <c:v>44510</c:v>
                </c:pt>
                <c:pt idx="141">
                  <c:v>44511</c:v>
                </c:pt>
                <c:pt idx="142">
                  <c:v>44512</c:v>
                </c:pt>
                <c:pt idx="143">
                  <c:v>44513</c:v>
                </c:pt>
                <c:pt idx="144">
                  <c:v>44514</c:v>
                </c:pt>
                <c:pt idx="145">
                  <c:v>44515</c:v>
                </c:pt>
                <c:pt idx="146">
                  <c:v>44516</c:v>
                </c:pt>
                <c:pt idx="147">
                  <c:v>44517</c:v>
                </c:pt>
                <c:pt idx="148">
                  <c:v>44518</c:v>
                </c:pt>
                <c:pt idx="149">
                  <c:v>44519</c:v>
                </c:pt>
                <c:pt idx="150">
                  <c:v>44520</c:v>
                </c:pt>
                <c:pt idx="151">
                  <c:v>44521</c:v>
                </c:pt>
                <c:pt idx="152">
                  <c:v>44522</c:v>
                </c:pt>
                <c:pt idx="153">
                  <c:v>44523</c:v>
                </c:pt>
                <c:pt idx="154">
                  <c:v>44524</c:v>
                </c:pt>
                <c:pt idx="155">
                  <c:v>44525</c:v>
                </c:pt>
              </c:numCache>
            </c:numRef>
          </c:cat>
          <c:val>
            <c:numRef>
              <c:f>Sheet1!$B$135:$B$290</c:f>
              <c:numCache>
                <c:formatCode>General</c:formatCode>
                <c:ptCount val="156"/>
                <c:pt idx="0">
                  <c:v>2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  <c:pt idx="4">
                  <c:v>2</c:v>
                </c:pt>
                <c:pt idx="5">
                  <c:v>1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2</c:v>
                </c:pt>
                <c:pt idx="10">
                  <c:v>1</c:v>
                </c:pt>
                <c:pt idx="11">
                  <c:v>2</c:v>
                </c:pt>
                <c:pt idx="12">
                  <c:v>1</c:v>
                </c:pt>
                <c:pt idx="13">
                  <c:v>4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1</c:v>
                </c:pt>
                <c:pt idx="19">
                  <c:v>2</c:v>
                </c:pt>
                <c:pt idx="20">
                  <c:v>3</c:v>
                </c:pt>
                <c:pt idx="21">
                  <c:v>3</c:v>
                </c:pt>
                <c:pt idx="22">
                  <c:v>3</c:v>
                </c:pt>
                <c:pt idx="23">
                  <c:v>0</c:v>
                </c:pt>
                <c:pt idx="24">
                  <c:v>0</c:v>
                </c:pt>
                <c:pt idx="25">
                  <c:v>2</c:v>
                </c:pt>
                <c:pt idx="26">
                  <c:v>5</c:v>
                </c:pt>
                <c:pt idx="27">
                  <c:v>1</c:v>
                </c:pt>
                <c:pt idx="28">
                  <c:v>4</c:v>
                </c:pt>
                <c:pt idx="29">
                  <c:v>0</c:v>
                </c:pt>
                <c:pt idx="30">
                  <c:v>4</c:v>
                </c:pt>
                <c:pt idx="31">
                  <c:v>1</c:v>
                </c:pt>
                <c:pt idx="32">
                  <c:v>1</c:v>
                </c:pt>
                <c:pt idx="33">
                  <c:v>3</c:v>
                </c:pt>
                <c:pt idx="34">
                  <c:v>0</c:v>
                </c:pt>
                <c:pt idx="35">
                  <c:v>0</c:v>
                </c:pt>
                <c:pt idx="36">
                  <c:v>2</c:v>
                </c:pt>
                <c:pt idx="37">
                  <c:v>1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2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0</c:v>
                </c:pt>
                <c:pt idx="46">
                  <c:v>0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1</c:v>
                </c:pt>
                <c:pt idx="51">
                  <c:v>2</c:v>
                </c:pt>
                <c:pt idx="52">
                  <c:v>3</c:v>
                </c:pt>
                <c:pt idx="53">
                  <c:v>1</c:v>
                </c:pt>
                <c:pt idx="54">
                  <c:v>3</c:v>
                </c:pt>
                <c:pt idx="55">
                  <c:v>3</c:v>
                </c:pt>
                <c:pt idx="56">
                  <c:v>2</c:v>
                </c:pt>
                <c:pt idx="57">
                  <c:v>1</c:v>
                </c:pt>
                <c:pt idx="58">
                  <c:v>0</c:v>
                </c:pt>
                <c:pt idx="59">
                  <c:v>0</c:v>
                </c:pt>
                <c:pt idx="60">
                  <c:v>1</c:v>
                </c:pt>
                <c:pt idx="61">
                  <c:v>5</c:v>
                </c:pt>
                <c:pt idx="62">
                  <c:v>2</c:v>
                </c:pt>
                <c:pt idx="63">
                  <c:v>0</c:v>
                </c:pt>
                <c:pt idx="64">
                  <c:v>2</c:v>
                </c:pt>
                <c:pt idx="65">
                  <c:v>1</c:v>
                </c:pt>
                <c:pt idx="66">
                  <c:v>2</c:v>
                </c:pt>
                <c:pt idx="67">
                  <c:v>1</c:v>
                </c:pt>
                <c:pt idx="68">
                  <c:v>0</c:v>
                </c:pt>
                <c:pt idx="69">
                  <c:v>2</c:v>
                </c:pt>
                <c:pt idx="70">
                  <c:v>1</c:v>
                </c:pt>
                <c:pt idx="71">
                  <c:v>6</c:v>
                </c:pt>
                <c:pt idx="72">
                  <c:v>6</c:v>
                </c:pt>
                <c:pt idx="73">
                  <c:v>1</c:v>
                </c:pt>
                <c:pt idx="74">
                  <c:v>1</c:v>
                </c:pt>
                <c:pt idx="75">
                  <c:v>2</c:v>
                </c:pt>
                <c:pt idx="76">
                  <c:v>6</c:v>
                </c:pt>
                <c:pt idx="77">
                  <c:v>1</c:v>
                </c:pt>
                <c:pt idx="78">
                  <c:v>4</c:v>
                </c:pt>
                <c:pt idx="79">
                  <c:v>0</c:v>
                </c:pt>
                <c:pt idx="80">
                  <c:v>1</c:v>
                </c:pt>
                <c:pt idx="81">
                  <c:v>2</c:v>
                </c:pt>
                <c:pt idx="82">
                  <c:v>3</c:v>
                </c:pt>
                <c:pt idx="83">
                  <c:v>5</c:v>
                </c:pt>
                <c:pt idx="84">
                  <c:v>3</c:v>
                </c:pt>
                <c:pt idx="85">
                  <c:v>8</c:v>
                </c:pt>
                <c:pt idx="86">
                  <c:v>6</c:v>
                </c:pt>
                <c:pt idx="87">
                  <c:v>2</c:v>
                </c:pt>
                <c:pt idx="88">
                  <c:v>2</c:v>
                </c:pt>
                <c:pt idx="89">
                  <c:v>10</c:v>
                </c:pt>
                <c:pt idx="90">
                  <c:v>7</c:v>
                </c:pt>
                <c:pt idx="91">
                  <c:v>6</c:v>
                </c:pt>
                <c:pt idx="92">
                  <c:v>5</c:v>
                </c:pt>
                <c:pt idx="93">
                  <c:v>7</c:v>
                </c:pt>
                <c:pt idx="94">
                  <c:v>7</c:v>
                </c:pt>
                <c:pt idx="95">
                  <c:v>6</c:v>
                </c:pt>
                <c:pt idx="96">
                  <c:v>5</c:v>
                </c:pt>
                <c:pt idx="97">
                  <c:v>9</c:v>
                </c:pt>
                <c:pt idx="98">
                  <c:v>12</c:v>
                </c:pt>
                <c:pt idx="99">
                  <c:v>16</c:v>
                </c:pt>
                <c:pt idx="100">
                  <c:v>8</c:v>
                </c:pt>
                <c:pt idx="101">
                  <c:v>5</c:v>
                </c:pt>
                <c:pt idx="102">
                  <c:v>8</c:v>
                </c:pt>
                <c:pt idx="103">
                  <c:v>10</c:v>
                </c:pt>
                <c:pt idx="104">
                  <c:v>13</c:v>
                </c:pt>
                <c:pt idx="105">
                  <c:v>9</c:v>
                </c:pt>
                <c:pt idx="106">
                  <c:v>8</c:v>
                </c:pt>
                <c:pt idx="107">
                  <c:v>9</c:v>
                </c:pt>
                <c:pt idx="108">
                  <c:v>5</c:v>
                </c:pt>
                <c:pt idx="109">
                  <c:v>4</c:v>
                </c:pt>
                <c:pt idx="110">
                  <c:v>18</c:v>
                </c:pt>
                <c:pt idx="111">
                  <c:v>19</c:v>
                </c:pt>
                <c:pt idx="112">
                  <c:v>22</c:v>
                </c:pt>
                <c:pt idx="113">
                  <c:v>19</c:v>
                </c:pt>
                <c:pt idx="114">
                  <c:v>17</c:v>
                </c:pt>
                <c:pt idx="115">
                  <c:v>10</c:v>
                </c:pt>
                <c:pt idx="116">
                  <c:v>10</c:v>
                </c:pt>
                <c:pt idx="117">
                  <c:v>35</c:v>
                </c:pt>
                <c:pt idx="118">
                  <c:v>29</c:v>
                </c:pt>
                <c:pt idx="119">
                  <c:v>26</c:v>
                </c:pt>
                <c:pt idx="120">
                  <c:v>52</c:v>
                </c:pt>
                <c:pt idx="121">
                  <c:v>43</c:v>
                </c:pt>
                <c:pt idx="122">
                  <c:v>34</c:v>
                </c:pt>
                <c:pt idx="123">
                  <c:v>11</c:v>
                </c:pt>
                <c:pt idx="124">
                  <c:v>66</c:v>
                </c:pt>
                <c:pt idx="125">
                  <c:v>68</c:v>
                </c:pt>
                <c:pt idx="126">
                  <c:v>77</c:v>
                </c:pt>
                <c:pt idx="127">
                  <c:v>34</c:v>
                </c:pt>
                <c:pt idx="128">
                  <c:v>81</c:v>
                </c:pt>
                <c:pt idx="129">
                  <c:v>63</c:v>
                </c:pt>
                <c:pt idx="130">
                  <c:v>37</c:v>
                </c:pt>
                <c:pt idx="131">
                  <c:v>111</c:v>
                </c:pt>
                <c:pt idx="132">
                  <c:v>104</c:v>
                </c:pt>
                <c:pt idx="133">
                  <c:v>118</c:v>
                </c:pt>
                <c:pt idx="134">
                  <c:v>102</c:v>
                </c:pt>
                <c:pt idx="135">
                  <c:v>112</c:v>
                </c:pt>
                <c:pt idx="136">
                  <c:v>83</c:v>
                </c:pt>
                <c:pt idx="137">
                  <c:v>28</c:v>
                </c:pt>
                <c:pt idx="138">
                  <c:v>134</c:v>
                </c:pt>
                <c:pt idx="139">
                  <c:v>146</c:v>
                </c:pt>
                <c:pt idx="140">
                  <c:v>167</c:v>
                </c:pt>
                <c:pt idx="141">
                  <c:v>95</c:v>
                </c:pt>
                <c:pt idx="142">
                  <c:v>162</c:v>
                </c:pt>
                <c:pt idx="143">
                  <c:v>96</c:v>
                </c:pt>
                <c:pt idx="144">
                  <c:v>54</c:v>
                </c:pt>
                <c:pt idx="145">
                  <c:v>159</c:v>
                </c:pt>
                <c:pt idx="146">
                  <c:v>229</c:v>
                </c:pt>
                <c:pt idx="147">
                  <c:v>120</c:v>
                </c:pt>
                <c:pt idx="148">
                  <c:v>168</c:v>
                </c:pt>
                <c:pt idx="149">
                  <c:v>234</c:v>
                </c:pt>
                <c:pt idx="150">
                  <c:v>152</c:v>
                </c:pt>
                <c:pt idx="151">
                  <c:v>84</c:v>
                </c:pt>
                <c:pt idx="152">
                  <c:v>192</c:v>
                </c:pt>
                <c:pt idx="153">
                  <c:v>241</c:v>
                </c:pt>
                <c:pt idx="154">
                  <c:v>133</c:v>
                </c:pt>
                <c:pt idx="155">
                  <c:v>1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O$1:$AA$1</c:f>
              <c:strCache>
                <c:ptCount val="13"/>
                <c:pt idx="0">
                  <c:v>27.08 - 02.09</c:v>
                </c:pt>
                <c:pt idx="1">
                  <c:v>03.09 - 09.09</c:v>
                </c:pt>
                <c:pt idx="2">
                  <c:v>10.09 - 16.09</c:v>
                </c:pt>
                <c:pt idx="3">
                  <c:v>17.09 - 23.09</c:v>
                </c:pt>
                <c:pt idx="4">
                  <c:v>24.09 - 30.09</c:v>
                </c:pt>
                <c:pt idx="5">
                  <c:v>01.10 - 07.10</c:v>
                </c:pt>
                <c:pt idx="6">
                  <c:v>08.10 - 14.10</c:v>
                </c:pt>
                <c:pt idx="7">
                  <c:v>15.10 - 21.10</c:v>
                </c:pt>
                <c:pt idx="8">
                  <c:v>22.10 - 28.10</c:v>
                </c:pt>
                <c:pt idx="9">
                  <c:v>29.10 - 04.11</c:v>
                </c:pt>
                <c:pt idx="10">
                  <c:v>05.11 - 11.11</c:v>
                </c:pt>
                <c:pt idx="11">
                  <c:v>12.11 - 18.11</c:v>
                </c:pt>
                <c:pt idx="12">
                  <c:v>19.11 - 25.11</c:v>
                </c:pt>
              </c:strCache>
            </c:strRef>
          </c:cat>
          <c:val>
            <c:numRef>
              <c:f>List1!$O$2:$AA$2</c:f>
              <c:numCache>
                <c:formatCode>General</c:formatCode>
                <c:ptCount val="13"/>
                <c:pt idx="0">
                  <c:v>10.153014300000001</c:v>
                </c:pt>
                <c:pt idx="1">
                  <c:v>14.2277968</c:v>
                </c:pt>
                <c:pt idx="2">
                  <c:v>32.076984699999997</c:v>
                </c:pt>
                <c:pt idx="3">
                  <c:v>40.606826099999999</c:v>
                </c:pt>
                <c:pt idx="4">
                  <c:v>56.131369800000002</c:v>
                </c:pt>
                <c:pt idx="5">
                  <c:v>107.62829549999999</c:v>
                </c:pt>
                <c:pt idx="6">
                  <c:v>216.84868040000001</c:v>
                </c:pt>
                <c:pt idx="7">
                  <c:v>359.40135199999997</c:v>
                </c:pt>
                <c:pt idx="8">
                  <c:v>448.56768460000001</c:v>
                </c:pt>
                <c:pt idx="9">
                  <c:v>383.90474799999998</c:v>
                </c:pt>
                <c:pt idx="10">
                  <c:v>250.93648099999999</c:v>
                </c:pt>
                <c:pt idx="11">
                  <c:v>179.93426550000001</c:v>
                </c:pt>
                <c:pt idx="12">
                  <c:v>169.59622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4FA-4D94-A4CE-CDB0E0CDD4B1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O$1:$AA$1</c:f>
              <c:strCache>
                <c:ptCount val="13"/>
                <c:pt idx="0">
                  <c:v>27.08 - 02.09</c:v>
                </c:pt>
                <c:pt idx="1">
                  <c:v>03.09 - 09.09</c:v>
                </c:pt>
                <c:pt idx="2">
                  <c:v>10.09 - 16.09</c:v>
                </c:pt>
                <c:pt idx="3">
                  <c:v>17.09 - 23.09</c:v>
                </c:pt>
                <c:pt idx="4">
                  <c:v>24.09 - 30.09</c:v>
                </c:pt>
                <c:pt idx="5">
                  <c:v>01.10 - 07.10</c:v>
                </c:pt>
                <c:pt idx="6">
                  <c:v>08.10 - 14.10</c:v>
                </c:pt>
                <c:pt idx="7">
                  <c:v>15.10 - 21.10</c:v>
                </c:pt>
                <c:pt idx="8">
                  <c:v>22.10 - 28.10</c:v>
                </c:pt>
                <c:pt idx="9">
                  <c:v>29.10 - 04.11</c:v>
                </c:pt>
                <c:pt idx="10">
                  <c:v>05.11 - 11.11</c:v>
                </c:pt>
                <c:pt idx="11">
                  <c:v>12.11 - 18.11</c:v>
                </c:pt>
                <c:pt idx="12">
                  <c:v>19.11 - 25.11</c:v>
                </c:pt>
              </c:strCache>
            </c:strRef>
          </c:cat>
          <c:val>
            <c:numRef>
              <c:f>List1!$O$3:$AA$3</c:f>
              <c:numCache>
                <c:formatCode>General</c:formatCode>
                <c:ptCount val="13"/>
                <c:pt idx="0">
                  <c:v>1.6547501</c:v>
                </c:pt>
                <c:pt idx="1">
                  <c:v>2.7564421000000001</c:v>
                </c:pt>
                <c:pt idx="2">
                  <c:v>2.7543429000000001</c:v>
                </c:pt>
                <c:pt idx="3">
                  <c:v>5.0916566999999997</c:v>
                </c:pt>
                <c:pt idx="4">
                  <c:v>8.1129543000000002</c:v>
                </c:pt>
                <c:pt idx="5">
                  <c:v>8.1098318000000003</c:v>
                </c:pt>
                <c:pt idx="6">
                  <c:v>12.2345346</c:v>
                </c:pt>
                <c:pt idx="7">
                  <c:v>22.821445499999999</c:v>
                </c:pt>
                <c:pt idx="8">
                  <c:v>41.797110699999998</c:v>
                </c:pt>
                <c:pt idx="9">
                  <c:v>78.931048000000004</c:v>
                </c:pt>
                <c:pt idx="10">
                  <c:v>98.355874900000003</c:v>
                </c:pt>
                <c:pt idx="11">
                  <c:v>124.6772977</c:v>
                </c:pt>
                <c:pt idx="12">
                  <c:v>155.9748843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4FA-4D94-A4CE-CDB0E0CDD4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290</c:f>
              <c:numCache>
                <c:formatCode>m/d/yyyy</c:formatCode>
                <c:ptCount val="156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70</c:v>
                </c:pt>
                <c:pt idx="5">
                  <c:v>44371</c:v>
                </c:pt>
                <c:pt idx="6">
                  <c:v>44373</c:v>
                </c:pt>
                <c:pt idx="7">
                  <c:v>44374</c:v>
                </c:pt>
                <c:pt idx="8">
                  <c:v>44375</c:v>
                </c:pt>
                <c:pt idx="9">
                  <c:v>44376</c:v>
                </c:pt>
                <c:pt idx="10">
                  <c:v>44378</c:v>
                </c:pt>
                <c:pt idx="11">
                  <c:v>44379</c:v>
                </c:pt>
                <c:pt idx="12">
                  <c:v>44381</c:v>
                </c:pt>
                <c:pt idx="13">
                  <c:v>44382</c:v>
                </c:pt>
                <c:pt idx="14">
                  <c:v>44383</c:v>
                </c:pt>
                <c:pt idx="15">
                  <c:v>44384</c:v>
                </c:pt>
                <c:pt idx="16">
                  <c:v>44385</c:v>
                </c:pt>
                <c:pt idx="17">
                  <c:v>44386</c:v>
                </c:pt>
                <c:pt idx="18">
                  <c:v>44387</c:v>
                </c:pt>
                <c:pt idx="19">
                  <c:v>44389</c:v>
                </c:pt>
                <c:pt idx="20">
                  <c:v>44390</c:v>
                </c:pt>
                <c:pt idx="21">
                  <c:v>44391</c:v>
                </c:pt>
                <c:pt idx="22">
                  <c:v>44392</c:v>
                </c:pt>
                <c:pt idx="23">
                  <c:v>44393</c:v>
                </c:pt>
                <c:pt idx="24">
                  <c:v>44394</c:v>
                </c:pt>
                <c:pt idx="25">
                  <c:v>44395</c:v>
                </c:pt>
                <c:pt idx="26">
                  <c:v>44396</c:v>
                </c:pt>
                <c:pt idx="27">
                  <c:v>44397</c:v>
                </c:pt>
                <c:pt idx="28">
                  <c:v>44398</c:v>
                </c:pt>
                <c:pt idx="29">
                  <c:v>44399</c:v>
                </c:pt>
                <c:pt idx="30">
                  <c:v>44400</c:v>
                </c:pt>
                <c:pt idx="31">
                  <c:v>44401</c:v>
                </c:pt>
                <c:pt idx="32">
                  <c:v>44402</c:v>
                </c:pt>
                <c:pt idx="33">
                  <c:v>44403</c:v>
                </c:pt>
                <c:pt idx="34">
                  <c:v>44404</c:v>
                </c:pt>
                <c:pt idx="35">
                  <c:v>44405</c:v>
                </c:pt>
                <c:pt idx="36">
                  <c:v>44406</c:v>
                </c:pt>
                <c:pt idx="37">
                  <c:v>44407</c:v>
                </c:pt>
                <c:pt idx="38">
                  <c:v>44408</c:v>
                </c:pt>
                <c:pt idx="39">
                  <c:v>44409</c:v>
                </c:pt>
                <c:pt idx="40">
                  <c:v>44410</c:v>
                </c:pt>
                <c:pt idx="41">
                  <c:v>44411</c:v>
                </c:pt>
                <c:pt idx="42">
                  <c:v>44412</c:v>
                </c:pt>
                <c:pt idx="43">
                  <c:v>44413</c:v>
                </c:pt>
                <c:pt idx="44">
                  <c:v>44414</c:v>
                </c:pt>
                <c:pt idx="45">
                  <c:v>44415</c:v>
                </c:pt>
                <c:pt idx="46">
                  <c:v>44416</c:v>
                </c:pt>
                <c:pt idx="47">
                  <c:v>44417</c:v>
                </c:pt>
                <c:pt idx="48">
                  <c:v>44418</c:v>
                </c:pt>
                <c:pt idx="49">
                  <c:v>44419</c:v>
                </c:pt>
                <c:pt idx="50">
                  <c:v>44420</c:v>
                </c:pt>
                <c:pt idx="51">
                  <c:v>44421</c:v>
                </c:pt>
                <c:pt idx="52">
                  <c:v>44422</c:v>
                </c:pt>
                <c:pt idx="53">
                  <c:v>44423</c:v>
                </c:pt>
                <c:pt idx="54">
                  <c:v>44424</c:v>
                </c:pt>
                <c:pt idx="55">
                  <c:v>44425</c:v>
                </c:pt>
                <c:pt idx="56">
                  <c:v>44426</c:v>
                </c:pt>
                <c:pt idx="57">
                  <c:v>44427</c:v>
                </c:pt>
                <c:pt idx="58">
                  <c:v>44428</c:v>
                </c:pt>
                <c:pt idx="59">
                  <c:v>44429</c:v>
                </c:pt>
                <c:pt idx="60">
                  <c:v>44430</c:v>
                </c:pt>
                <c:pt idx="61">
                  <c:v>44431</c:v>
                </c:pt>
                <c:pt idx="62">
                  <c:v>44432</c:v>
                </c:pt>
                <c:pt idx="63">
                  <c:v>44433</c:v>
                </c:pt>
                <c:pt idx="64">
                  <c:v>44434</c:v>
                </c:pt>
                <c:pt idx="65">
                  <c:v>44435</c:v>
                </c:pt>
                <c:pt idx="66">
                  <c:v>44436</c:v>
                </c:pt>
                <c:pt idx="67">
                  <c:v>44437</c:v>
                </c:pt>
                <c:pt idx="68">
                  <c:v>44438</c:v>
                </c:pt>
                <c:pt idx="69">
                  <c:v>44439</c:v>
                </c:pt>
                <c:pt idx="70">
                  <c:v>44440</c:v>
                </c:pt>
                <c:pt idx="71">
                  <c:v>44441</c:v>
                </c:pt>
                <c:pt idx="72">
                  <c:v>44442</c:v>
                </c:pt>
                <c:pt idx="73">
                  <c:v>44443</c:v>
                </c:pt>
                <c:pt idx="74">
                  <c:v>44444</c:v>
                </c:pt>
                <c:pt idx="75">
                  <c:v>44445</c:v>
                </c:pt>
                <c:pt idx="76">
                  <c:v>44446</c:v>
                </c:pt>
                <c:pt idx="77">
                  <c:v>44447</c:v>
                </c:pt>
                <c:pt idx="78">
                  <c:v>44448</c:v>
                </c:pt>
                <c:pt idx="79">
                  <c:v>44449</c:v>
                </c:pt>
                <c:pt idx="80">
                  <c:v>44450</c:v>
                </c:pt>
                <c:pt idx="81">
                  <c:v>44451</c:v>
                </c:pt>
                <c:pt idx="82">
                  <c:v>44452</c:v>
                </c:pt>
                <c:pt idx="83">
                  <c:v>44453</c:v>
                </c:pt>
                <c:pt idx="84">
                  <c:v>44454</c:v>
                </c:pt>
                <c:pt idx="85">
                  <c:v>44455</c:v>
                </c:pt>
                <c:pt idx="86">
                  <c:v>44456</c:v>
                </c:pt>
                <c:pt idx="87">
                  <c:v>44457</c:v>
                </c:pt>
                <c:pt idx="88">
                  <c:v>44458</c:v>
                </c:pt>
                <c:pt idx="89">
                  <c:v>44459</c:v>
                </c:pt>
                <c:pt idx="90">
                  <c:v>44460</c:v>
                </c:pt>
                <c:pt idx="91">
                  <c:v>44461</c:v>
                </c:pt>
                <c:pt idx="92">
                  <c:v>44462</c:v>
                </c:pt>
                <c:pt idx="93">
                  <c:v>44463</c:v>
                </c:pt>
                <c:pt idx="94">
                  <c:v>44464</c:v>
                </c:pt>
                <c:pt idx="95">
                  <c:v>44465</c:v>
                </c:pt>
                <c:pt idx="96">
                  <c:v>44466</c:v>
                </c:pt>
                <c:pt idx="97">
                  <c:v>44467</c:v>
                </c:pt>
                <c:pt idx="98">
                  <c:v>44468</c:v>
                </c:pt>
                <c:pt idx="99">
                  <c:v>44469</c:v>
                </c:pt>
                <c:pt idx="100">
                  <c:v>44470</c:v>
                </c:pt>
                <c:pt idx="101">
                  <c:v>44471</c:v>
                </c:pt>
                <c:pt idx="102">
                  <c:v>44472</c:v>
                </c:pt>
                <c:pt idx="103">
                  <c:v>44473</c:v>
                </c:pt>
                <c:pt idx="104">
                  <c:v>44474</c:v>
                </c:pt>
                <c:pt idx="105">
                  <c:v>44475</c:v>
                </c:pt>
                <c:pt idx="106">
                  <c:v>44476</c:v>
                </c:pt>
                <c:pt idx="107">
                  <c:v>44477</c:v>
                </c:pt>
                <c:pt idx="108">
                  <c:v>44478</c:v>
                </c:pt>
                <c:pt idx="109">
                  <c:v>44479</c:v>
                </c:pt>
                <c:pt idx="110">
                  <c:v>44480</c:v>
                </c:pt>
                <c:pt idx="111">
                  <c:v>44481</c:v>
                </c:pt>
                <c:pt idx="112">
                  <c:v>44482</c:v>
                </c:pt>
                <c:pt idx="113">
                  <c:v>44483</c:v>
                </c:pt>
                <c:pt idx="114">
                  <c:v>44484</c:v>
                </c:pt>
                <c:pt idx="115">
                  <c:v>44485</c:v>
                </c:pt>
                <c:pt idx="116">
                  <c:v>44486</c:v>
                </c:pt>
                <c:pt idx="117">
                  <c:v>44487</c:v>
                </c:pt>
                <c:pt idx="118">
                  <c:v>44488</c:v>
                </c:pt>
                <c:pt idx="119">
                  <c:v>44489</c:v>
                </c:pt>
                <c:pt idx="120">
                  <c:v>44490</c:v>
                </c:pt>
                <c:pt idx="121">
                  <c:v>44491</c:v>
                </c:pt>
                <c:pt idx="122">
                  <c:v>44492</c:v>
                </c:pt>
                <c:pt idx="123">
                  <c:v>44493</c:v>
                </c:pt>
                <c:pt idx="124">
                  <c:v>44494</c:v>
                </c:pt>
                <c:pt idx="125">
                  <c:v>44495</c:v>
                </c:pt>
                <c:pt idx="126">
                  <c:v>44496</c:v>
                </c:pt>
                <c:pt idx="127">
                  <c:v>44497</c:v>
                </c:pt>
                <c:pt idx="128">
                  <c:v>44498</c:v>
                </c:pt>
                <c:pt idx="129">
                  <c:v>44499</c:v>
                </c:pt>
                <c:pt idx="130">
                  <c:v>44500</c:v>
                </c:pt>
                <c:pt idx="131">
                  <c:v>44501</c:v>
                </c:pt>
                <c:pt idx="132">
                  <c:v>44502</c:v>
                </c:pt>
                <c:pt idx="133">
                  <c:v>44503</c:v>
                </c:pt>
                <c:pt idx="134">
                  <c:v>44504</c:v>
                </c:pt>
                <c:pt idx="135">
                  <c:v>44505</c:v>
                </c:pt>
                <c:pt idx="136">
                  <c:v>44506</c:v>
                </c:pt>
                <c:pt idx="137">
                  <c:v>44507</c:v>
                </c:pt>
                <c:pt idx="138">
                  <c:v>44508</c:v>
                </c:pt>
                <c:pt idx="139">
                  <c:v>44509</c:v>
                </c:pt>
                <c:pt idx="140">
                  <c:v>44510</c:v>
                </c:pt>
                <c:pt idx="141">
                  <c:v>44511</c:v>
                </c:pt>
                <c:pt idx="142">
                  <c:v>44512</c:v>
                </c:pt>
                <c:pt idx="143">
                  <c:v>44513</c:v>
                </c:pt>
                <c:pt idx="144">
                  <c:v>44514</c:v>
                </c:pt>
                <c:pt idx="145">
                  <c:v>44515</c:v>
                </c:pt>
                <c:pt idx="146">
                  <c:v>44516</c:v>
                </c:pt>
                <c:pt idx="147">
                  <c:v>44517</c:v>
                </c:pt>
                <c:pt idx="148">
                  <c:v>44518</c:v>
                </c:pt>
                <c:pt idx="149">
                  <c:v>44519</c:v>
                </c:pt>
                <c:pt idx="150">
                  <c:v>44520</c:v>
                </c:pt>
                <c:pt idx="151">
                  <c:v>44521</c:v>
                </c:pt>
                <c:pt idx="152">
                  <c:v>44522</c:v>
                </c:pt>
                <c:pt idx="153">
                  <c:v>44523</c:v>
                </c:pt>
                <c:pt idx="154">
                  <c:v>44524</c:v>
                </c:pt>
                <c:pt idx="155">
                  <c:v>44525</c:v>
                </c:pt>
              </c:numCache>
            </c:numRef>
          </c:cat>
          <c:val>
            <c:numRef>
              <c:f>Sheet1!$B$135:$B$290</c:f>
              <c:numCache>
                <c:formatCode>General</c:formatCode>
                <c:ptCount val="156"/>
                <c:pt idx="0">
                  <c:v>2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2</c:v>
                </c:pt>
                <c:pt idx="6">
                  <c:v>1</c:v>
                </c:pt>
                <c:pt idx="7">
                  <c:v>2</c:v>
                </c:pt>
                <c:pt idx="8">
                  <c:v>0</c:v>
                </c:pt>
                <c:pt idx="9">
                  <c:v>1</c:v>
                </c:pt>
                <c:pt idx="10">
                  <c:v>0</c:v>
                </c:pt>
                <c:pt idx="11">
                  <c:v>2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1</c:v>
                </c:pt>
                <c:pt idx="16">
                  <c:v>4</c:v>
                </c:pt>
                <c:pt idx="17">
                  <c:v>4</c:v>
                </c:pt>
                <c:pt idx="18">
                  <c:v>0</c:v>
                </c:pt>
                <c:pt idx="19">
                  <c:v>3</c:v>
                </c:pt>
                <c:pt idx="20">
                  <c:v>0</c:v>
                </c:pt>
                <c:pt idx="21">
                  <c:v>4</c:v>
                </c:pt>
                <c:pt idx="22">
                  <c:v>2</c:v>
                </c:pt>
                <c:pt idx="23">
                  <c:v>5</c:v>
                </c:pt>
                <c:pt idx="24">
                  <c:v>1</c:v>
                </c:pt>
                <c:pt idx="25">
                  <c:v>1</c:v>
                </c:pt>
                <c:pt idx="26">
                  <c:v>3</c:v>
                </c:pt>
                <c:pt idx="27">
                  <c:v>5</c:v>
                </c:pt>
                <c:pt idx="28">
                  <c:v>1</c:v>
                </c:pt>
                <c:pt idx="29">
                  <c:v>3</c:v>
                </c:pt>
                <c:pt idx="30">
                  <c:v>2</c:v>
                </c:pt>
                <c:pt idx="31">
                  <c:v>0</c:v>
                </c:pt>
                <c:pt idx="32">
                  <c:v>1</c:v>
                </c:pt>
                <c:pt idx="33">
                  <c:v>3</c:v>
                </c:pt>
                <c:pt idx="34">
                  <c:v>4</c:v>
                </c:pt>
                <c:pt idx="35">
                  <c:v>1</c:v>
                </c:pt>
                <c:pt idx="36">
                  <c:v>4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2</c:v>
                </c:pt>
                <c:pt idx="41">
                  <c:v>4</c:v>
                </c:pt>
                <c:pt idx="42">
                  <c:v>3</c:v>
                </c:pt>
                <c:pt idx="43">
                  <c:v>1</c:v>
                </c:pt>
                <c:pt idx="44">
                  <c:v>3</c:v>
                </c:pt>
                <c:pt idx="45">
                  <c:v>1</c:v>
                </c:pt>
                <c:pt idx="46">
                  <c:v>0</c:v>
                </c:pt>
                <c:pt idx="47">
                  <c:v>8</c:v>
                </c:pt>
                <c:pt idx="48">
                  <c:v>1</c:v>
                </c:pt>
                <c:pt idx="49">
                  <c:v>1</c:v>
                </c:pt>
                <c:pt idx="50">
                  <c:v>2</c:v>
                </c:pt>
                <c:pt idx="51">
                  <c:v>6</c:v>
                </c:pt>
                <c:pt idx="52">
                  <c:v>2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0</c:v>
                </c:pt>
                <c:pt idx="58">
                  <c:v>3</c:v>
                </c:pt>
                <c:pt idx="59">
                  <c:v>2</c:v>
                </c:pt>
                <c:pt idx="60">
                  <c:v>2</c:v>
                </c:pt>
                <c:pt idx="61">
                  <c:v>1</c:v>
                </c:pt>
                <c:pt idx="62">
                  <c:v>3</c:v>
                </c:pt>
                <c:pt idx="63">
                  <c:v>5</c:v>
                </c:pt>
                <c:pt idx="64">
                  <c:v>2</c:v>
                </c:pt>
                <c:pt idx="65">
                  <c:v>2</c:v>
                </c:pt>
                <c:pt idx="66">
                  <c:v>0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3</c:v>
                </c:pt>
                <c:pt idx="71">
                  <c:v>5</c:v>
                </c:pt>
                <c:pt idx="72">
                  <c:v>6</c:v>
                </c:pt>
                <c:pt idx="73">
                  <c:v>5</c:v>
                </c:pt>
                <c:pt idx="74">
                  <c:v>1</c:v>
                </c:pt>
                <c:pt idx="75">
                  <c:v>5</c:v>
                </c:pt>
                <c:pt idx="76">
                  <c:v>4</c:v>
                </c:pt>
                <c:pt idx="77">
                  <c:v>1</c:v>
                </c:pt>
                <c:pt idx="78">
                  <c:v>3</c:v>
                </c:pt>
                <c:pt idx="79">
                  <c:v>2</c:v>
                </c:pt>
                <c:pt idx="80">
                  <c:v>0</c:v>
                </c:pt>
                <c:pt idx="81">
                  <c:v>3</c:v>
                </c:pt>
                <c:pt idx="82">
                  <c:v>2</c:v>
                </c:pt>
                <c:pt idx="83">
                  <c:v>3</c:v>
                </c:pt>
                <c:pt idx="84">
                  <c:v>5</c:v>
                </c:pt>
                <c:pt idx="85">
                  <c:v>7</c:v>
                </c:pt>
                <c:pt idx="86">
                  <c:v>4</c:v>
                </c:pt>
                <c:pt idx="87">
                  <c:v>2</c:v>
                </c:pt>
                <c:pt idx="88">
                  <c:v>6</c:v>
                </c:pt>
                <c:pt idx="89">
                  <c:v>8</c:v>
                </c:pt>
                <c:pt idx="90">
                  <c:v>9</c:v>
                </c:pt>
                <c:pt idx="91">
                  <c:v>8</c:v>
                </c:pt>
                <c:pt idx="92">
                  <c:v>7</c:v>
                </c:pt>
                <c:pt idx="93">
                  <c:v>5</c:v>
                </c:pt>
                <c:pt idx="94">
                  <c:v>4</c:v>
                </c:pt>
                <c:pt idx="95">
                  <c:v>2</c:v>
                </c:pt>
                <c:pt idx="96">
                  <c:v>7</c:v>
                </c:pt>
                <c:pt idx="97">
                  <c:v>6</c:v>
                </c:pt>
                <c:pt idx="98">
                  <c:v>9</c:v>
                </c:pt>
                <c:pt idx="99">
                  <c:v>12</c:v>
                </c:pt>
                <c:pt idx="100">
                  <c:v>11</c:v>
                </c:pt>
                <c:pt idx="101">
                  <c:v>4</c:v>
                </c:pt>
                <c:pt idx="102">
                  <c:v>7</c:v>
                </c:pt>
                <c:pt idx="103">
                  <c:v>9</c:v>
                </c:pt>
                <c:pt idx="104">
                  <c:v>13</c:v>
                </c:pt>
                <c:pt idx="105">
                  <c:v>13</c:v>
                </c:pt>
                <c:pt idx="106">
                  <c:v>16</c:v>
                </c:pt>
                <c:pt idx="107">
                  <c:v>10</c:v>
                </c:pt>
                <c:pt idx="108">
                  <c:v>8</c:v>
                </c:pt>
                <c:pt idx="109">
                  <c:v>5</c:v>
                </c:pt>
                <c:pt idx="110">
                  <c:v>19</c:v>
                </c:pt>
                <c:pt idx="111">
                  <c:v>31</c:v>
                </c:pt>
                <c:pt idx="112">
                  <c:v>18</c:v>
                </c:pt>
                <c:pt idx="113">
                  <c:v>20</c:v>
                </c:pt>
                <c:pt idx="114">
                  <c:v>14</c:v>
                </c:pt>
                <c:pt idx="115">
                  <c:v>9</c:v>
                </c:pt>
                <c:pt idx="116">
                  <c:v>13</c:v>
                </c:pt>
                <c:pt idx="117">
                  <c:v>39</c:v>
                </c:pt>
                <c:pt idx="118">
                  <c:v>55</c:v>
                </c:pt>
                <c:pt idx="119">
                  <c:v>50</c:v>
                </c:pt>
                <c:pt idx="120">
                  <c:v>54</c:v>
                </c:pt>
                <c:pt idx="121">
                  <c:v>46</c:v>
                </c:pt>
                <c:pt idx="122">
                  <c:v>28</c:v>
                </c:pt>
                <c:pt idx="123">
                  <c:v>21</c:v>
                </c:pt>
                <c:pt idx="124">
                  <c:v>80</c:v>
                </c:pt>
                <c:pt idx="125">
                  <c:v>86</c:v>
                </c:pt>
                <c:pt idx="126">
                  <c:v>64</c:v>
                </c:pt>
                <c:pt idx="127">
                  <c:v>41</c:v>
                </c:pt>
                <c:pt idx="128">
                  <c:v>82</c:v>
                </c:pt>
                <c:pt idx="129">
                  <c:v>54</c:v>
                </c:pt>
                <c:pt idx="130">
                  <c:v>42</c:v>
                </c:pt>
                <c:pt idx="131">
                  <c:v>135</c:v>
                </c:pt>
                <c:pt idx="132">
                  <c:v>129</c:v>
                </c:pt>
                <c:pt idx="133">
                  <c:v>105</c:v>
                </c:pt>
                <c:pt idx="134">
                  <c:v>115</c:v>
                </c:pt>
                <c:pt idx="135">
                  <c:v>132</c:v>
                </c:pt>
                <c:pt idx="136">
                  <c:v>55</c:v>
                </c:pt>
                <c:pt idx="137">
                  <c:v>39</c:v>
                </c:pt>
                <c:pt idx="138">
                  <c:v>129</c:v>
                </c:pt>
                <c:pt idx="139">
                  <c:v>149</c:v>
                </c:pt>
                <c:pt idx="140">
                  <c:v>143</c:v>
                </c:pt>
                <c:pt idx="141">
                  <c:v>121</c:v>
                </c:pt>
                <c:pt idx="142">
                  <c:v>170</c:v>
                </c:pt>
                <c:pt idx="143">
                  <c:v>96</c:v>
                </c:pt>
                <c:pt idx="144">
                  <c:v>53</c:v>
                </c:pt>
                <c:pt idx="145">
                  <c:v>166</c:v>
                </c:pt>
                <c:pt idx="146">
                  <c:v>198</c:v>
                </c:pt>
                <c:pt idx="147">
                  <c:v>140</c:v>
                </c:pt>
                <c:pt idx="148">
                  <c:v>165</c:v>
                </c:pt>
                <c:pt idx="149">
                  <c:v>251</c:v>
                </c:pt>
                <c:pt idx="150">
                  <c:v>125</c:v>
                </c:pt>
                <c:pt idx="151">
                  <c:v>90</c:v>
                </c:pt>
                <c:pt idx="152">
                  <c:v>197</c:v>
                </c:pt>
                <c:pt idx="153">
                  <c:v>199</c:v>
                </c:pt>
                <c:pt idx="154">
                  <c:v>166</c:v>
                </c:pt>
                <c:pt idx="155">
                  <c:v>2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O$1:$AA$1</c:f>
              <c:strCache>
                <c:ptCount val="13"/>
                <c:pt idx="0">
                  <c:v>27.08 - 02.09</c:v>
                </c:pt>
                <c:pt idx="1">
                  <c:v>03.09 - 09.09</c:v>
                </c:pt>
                <c:pt idx="2">
                  <c:v>10.09 - 16.09</c:v>
                </c:pt>
                <c:pt idx="3">
                  <c:v>17.09 - 23.09</c:v>
                </c:pt>
                <c:pt idx="4">
                  <c:v>24.09 - 30.09</c:v>
                </c:pt>
                <c:pt idx="5">
                  <c:v>01.10 - 07.10</c:v>
                </c:pt>
                <c:pt idx="6">
                  <c:v>08.10 - 14.10</c:v>
                </c:pt>
                <c:pt idx="7">
                  <c:v>15.10 - 21.10</c:v>
                </c:pt>
                <c:pt idx="8">
                  <c:v>22.10 - 28.10</c:v>
                </c:pt>
                <c:pt idx="9">
                  <c:v>29.10 - 04.11</c:v>
                </c:pt>
                <c:pt idx="10">
                  <c:v>05.11 - 11.11</c:v>
                </c:pt>
                <c:pt idx="11">
                  <c:v>12.11 - 18.11</c:v>
                </c:pt>
                <c:pt idx="12">
                  <c:v>19.11 - 25.11</c:v>
                </c:pt>
              </c:strCache>
            </c:strRef>
          </c:cat>
          <c:val>
            <c:numRef>
              <c:f>List1!$O$2:$AA$2</c:f>
              <c:numCache>
                <c:formatCode>General</c:formatCode>
                <c:ptCount val="13"/>
                <c:pt idx="0">
                  <c:v>5.6336395000000001</c:v>
                </c:pt>
                <c:pt idx="1">
                  <c:v>17.524003</c:v>
                </c:pt>
                <c:pt idx="2">
                  <c:v>32.269872399999997</c:v>
                </c:pt>
                <c:pt idx="3">
                  <c:v>43.768236700000003</c:v>
                </c:pt>
                <c:pt idx="4">
                  <c:v>52.673036500000002</c:v>
                </c:pt>
                <c:pt idx="5">
                  <c:v>112.5290913</c:v>
                </c:pt>
                <c:pt idx="6">
                  <c:v>193.7712286</c:v>
                </c:pt>
                <c:pt idx="7">
                  <c:v>344.43296859999998</c:v>
                </c:pt>
                <c:pt idx="8">
                  <c:v>394.23591119999998</c:v>
                </c:pt>
                <c:pt idx="9">
                  <c:v>347.5597745</c:v>
                </c:pt>
                <c:pt idx="10">
                  <c:v>228.49836690000001</c:v>
                </c:pt>
                <c:pt idx="11">
                  <c:v>156.03525450000001</c:v>
                </c:pt>
                <c:pt idx="12">
                  <c:v>129.04420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8F6-4753-91BA-05F66EF54DB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O$1:$AA$1</c:f>
              <c:strCache>
                <c:ptCount val="13"/>
                <c:pt idx="0">
                  <c:v>27.08 - 02.09</c:v>
                </c:pt>
                <c:pt idx="1">
                  <c:v>03.09 - 09.09</c:v>
                </c:pt>
                <c:pt idx="2">
                  <c:v>10.09 - 16.09</c:v>
                </c:pt>
                <c:pt idx="3">
                  <c:v>17.09 - 23.09</c:v>
                </c:pt>
                <c:pt idx="4">
                  <c:v>24.09 - 30.09</c:v>
                </c:pt>
                <c:pt idx="5">
                  <c:v>01.10 - 07.10</c:v>
                </c:pt>
                <c:pt idx="6">
                  <c:v>08.10 - 14.10</c:v>
                </c:pt>
                <c:pt idx="7">
                  <c:v>15.10 - 21.10</c:v>
                </c:pt>
                <c:pt idx="8">
                  <c:v>22.10 - 28.10</c:v>
                </c:pt>
                <c:pt idx="9">
                  <c:v>29.10 - 04.11</c:v>
                </c:pt>
                <c:pt idx="10">
                  <c:v>05.11 - 11.11</c:v>
                </c:pt>
                <c:pt idx="11">
                  <c:v>12.11 - 18.11</c:v>
                </c:pt>
                <c:pt idx="12">
                  <c:v>19.11 - 25.11</c:v>
                </c:pt>
              </c:strCache>
            </c:strRef>
          </c:cat>
          <c:val>
            <c:numRef>
              <c:f>List1!$O$3:$AA$3</c:f>
              <c:numCache>
                <c:formatCode>General</c:formatCode>
                <c:ptCount val="13"/>
                <c:pt idx="0">
                  <c:v>1.8431396</c:v>
                </c:pt>
                <c:pt idx="1">
                  <c:v>3.8419395000000001</c:v>
                </c:pt>
                <c:pt idx="2">
                  <c:v>3.3822114000000001</c:v>
                </c:pt>
                <c:pt idx="3">
                  <c:v>6.3056260000000002</c:v>
                </c:pt>
                <c:pt idx="4">
                  <c:v>6.6157510000000004</c:v>
                </c:pt>
                <c:pt idx="5">
                  <c:v>10.3155956</c:v>
                </c:pt>
                <c:pt idx="6">
                  <c:v>16.1800578</c:v>
                </c:pt>
                <c:pt idx="7">
                  <c:v>35.164075799999999</c:v>
                </c:pt>
                <c:pt idx="8">
                  <c:v>53.100022500000001</c:v>
                </c:pt>
                <c:pt idx="9">
                  <c:v>97.650365300000004</c:v>
                </c:pt>
                <c:pt idx="10">
                  <c:v>113.4100849</c:v>
                </c:pt>
                <c:pt idx="11">
                  <c:v>145.33037089999999</c:v>
                </c:pt>
                <c:pt idx="12">
                  <c:v>181.0635738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8F6-4753-91BA-05F66EF54D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292</c:f>
              <c:numCache>
                <c:formatCode>m/d/yyyy</c:formatCode>
                <c:ptCount val="158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70</c:v>
                </c:pt>
                <c:pt idx="5">
                  <c:v>44371</c:v>
                </c:pt>
                <c:pt idx="6">
                  <c:v>44373</c:v>
                </c:pt>
                <c:pt idx="7">
                  <c:v>44374</c:v>
                </c:pt>
                <c:pt idx="8">
                  <c:v>44375</c:v>
                </c:pt>
                <c:pt idx="9">
                  <c:v>44376</c:v>
                </c:pt>
                <c:pt idx="10">
                  <c:v>44378</c:v>
                </c:pt>
                <c:pt idx="11">
                  <c:v>44379</c:v>
                </c:pt>
                <c:pt idx="12">
                  <c:v>44381</c:v>
                </c:pt>
                <c:pt idx="13">
                  <c:v>44382</c:v>
                </c:pt>
                <c:pt idx="14">
                  <c:v>44383</c:v>
                </c:pt>
                <c:pt idx="15">
                  <c:v>44384</c:v>
                </c:pt>
                <c:pt idx="16">
                  <c:v>44385</c:v>
                </c:pt>
                <c:pt idx="17">
                  <c:v>44386</c:v>
                </c:pt>
                <c:pt idx="18">
                  <c:v>44387</c:v>
                </c:pt>
                <c:pt idx="19">
                  <c:v>44389</c:v>
                </c:pt>
                <c:pt idx="20">
                  <c:v>44390</c:v>
                </c:pt>
                <c:pt idx="21">
                  <c:v>44391</c:v>
                </c:pt>
                <c:pt idx="22">
                  <c:v>44392</c:v>
                </c:pt>
                <c:pt idx="23">
                  <c:v>44393</c:v>
                </c:pt>
                <c:pt idx="24">
                  <c:v>44394</c:v>
                </c:pt>
                <c:pt idx="25">
                  <c:v>44395</c:v>
                </c:pt>
                <c:pt idx="26">
                  <c:v>44396</c:v>
                </c:pt>
                <c:pt idx="27">
                  <c:v>44397</c:v>
                </c:pt>
                <c:pt idx="28">
                  <c:v>44398</c:v>
                </c:pt>
                <c:pt idx="29">
                  <c:v>44399</c:v>
                </c:pt>
                <c:pt idx="30">
                  <c:v>44400</c:v>
                </c:pt>
                <c:pt idx="31">
                  <c:v>44401</c:v>
                </c:pt>
                <c:pt idx="32">
                  <c:v>44402</c:v>
                </c:pt>
                <c:pt idx="33">
                  <c:v>44403</c:v>
                </c:pt>
                <c:pt idx="34">
                  <c:v>44404</c:v>
                </c:pt>
                <c:pt idx="35">
                  <c:v>44405</c:v>
                </c:pt>
                <c:pt idx="36">
                  <c:v>44406</c:v>
                </c:pt>
                <c:pt idx="37">
                  <c:v>44407</c:v>
                </c:pt>
                <c:pt idx="38">
                  <c:v>44408</c:v>
                </c:pt>
                <c:pt idx="39">
                  <c:v>44409</c:v>
                </c:pt>
                <c:pt idx="40">
                  <c:v>44410</c:v>
                </c:pt>
                <c:pt idx="41">
                  <c:v>44411</c:v>
                </c:pt>
                <c:pt idx="42">
                  <c:v>44412</c:v>
                </c:pt>
                <c:pt idx="43">
                  <c:v>44413</c:v>
                </c:pt>
                <c:pt idx="44">
                  <c:v>44414</c:v>
                </c:pt>
                <c:pt idx="45">
                  <c:v>44415</c:v>
                </c:pt>
                <c:pt idx="46">
                  <c:v>44416</c:v>
                </c:pt>
                <c:pt idx="47">
                  <c:v>44417</c:v>
                </c:pt>
                <c:pt idx="48">
                  <c:v>44418</c:v>
                </c:pt>
                <c:pt idx="49">
                  <c:v>44419</c:v>
                </c:pt>
                <c:pt idx="50">
                  <c:v>44420</c:v>
                </c:pt>
                <c:pt idx="51">
                  <c:v>44421</c:v>
                </c:pt>
                <c:pt idx="52">
                  <c:v>44422</c:v>
                </c:pt>
                <c:pt idx="53">
                  <c:v>44423</c:v>
                </c:pt>
                <c:pt idx="54">
                  <c:v>44424</c:v>
                </c:pt>
                <c:pt idx="55">
                  <c:v>44425</c:v>
                </c:pt>
                <c:pt idx="56">
                  <c:v>44426</c:v>
                </c:pt>
                <c:pt idx="57">
                  <c:v>44427</c:v>
                </c:pt>
                <c:pt idx="58">
                  <c:v>44428</c:v>
                </c:pt>
                <c:pt idx="59">
                  <c:v>44429</c:v>
                </c:pt>
                <c:pt idx="60">
                  <c:v>44430</c:v>
                </c:pt>
                <c:pt idx="61">
                  <c:v>44431</c:v>
                </c:pt>
                <c:pt idx="62">
                  <c:v>44432</c:v>
                </c:pt>
                <c:pt idx="63">
                  <c:v>44433</c:v>
                </c:pt>
                <c:pt idx="64">
                  <c:v>44434</c:v>
                </c:pt>
                <c:pt idx="65">
                  <c:v>44435</c:v>
                </c:pt>
                <c:pt idx="66">
                  <c:v>44436</c:v>
                </c:pt>
                <c:pt idx="67">
                  <c:v>44437</c:v>
                </c:pt>
                <c:pt idx="68">
                  <c:v>44438</c:v>
                </c:pt>
                <c:pt idx="69">
                  <c:v>44439</c:v>
                </c:pt>
                <c:pt idx="70">
                  <c:v>44440</c:v>
                </c:pt>
                <c:pt idx="71">
                  <c:v>44441</c:v>
                </c:pt>
                <c:pt idx="72">
                  <c:v>44442</c:v>
                </c:pt>
                <c:pt idx="73">
                  <c:v>44443</c:v>
                </c:pt>
                <c:pt idx="74">
                  <c:v>44444</c:v>
                </c:pt>
                <c:pt idx="75">
                  <c:v>44445</c:v>
                </c:pt>
                <c:pt idx="76">
                  <c:v>44446</c:v>
                </c:pt>
                <c:pt idx="77">
                  <c:v>44447</c:v>
                </c:pt>
                <c:pt idx="78">
                  <c:v>44448</c:v>
                </c:pt>
                <c:pt idx="79">
                  <c:v>44449</c:v>
                </c:pt>
                <c:pt idx="80">
                  <c:v>44450</c:v>
                </c:pt>
                <c:pt idx="81">
                  <c:v>44451</c:v>
                </c:pt>
                <c:pt idx="82">
                  <c:v>44452</c:v>
                </c:pt>
                <c:pt idx="83">
                  <c:v>44453</c:v>
                </c:pt>
                <c:pt idx="84">
                  <c:v>44454</c:v>
                </c:pt>
                <c:pt idx="85">
                  <c:v>44455</c:v>
                </c:pt>
                <c:pt idx="86">
                  <c:v>44456</c:v>
                </c:pt>
                <c:pt idx="87">
                  <c:v>44457</c:v>
                </c:pt>
                <c:pt idx="88">
                  <c:v>44458</c:v>
                </c:pt>
                <c:pt idx="89">
                  <c:v>44459</c:v>
                </c:pt>
                <c:pt idx="90">
                  <c:v>44460</c:v>
                </c:pt>
                <c:pt idx="91">
                  <c:v>44461</c:v>
                </c:pt>
                <c:pt idx="92">
                  <c:v>44462</c:v>
                </c:pt>
                <c:pt idx="93">
                  <c:v>44463</c:v>
                </c:pt>
                <c:pt idx="94">
                  <c:v>44464</c:v>
                </c:pt>
                <c:pt idx="95">
                  <c:v>44465</c:v>
                </c:pt>
                <c:pt idx="96">
                  <c:v>44466</c:v>
                </c:pt>
                <c:pt idx="97">
                  <c:v>44467</c:v>
                </c:pt>
                <c:pt idx="98">
                  <c:v>44468</c:v>
                </c:pt>
                <c:pt idx="99">
                  <c:v>44469</c:v>
                </c:pt>
                <c:pt idx="100">
                  <c:v>44470</c:v>
                </c:pt>
                <c:pt idx="101">
                  <c:v>44471</c:v>
                </c:pt>
                <c:pt idx="102">
                  <c:v>44472</c:v>
                </c:pt>
                <c:pt idx="103">
                  <c:v>44473</c:v>
                </c:pt>
                <c:pt idx="104">
                  <c:v>44474</c:v>
                </c:pt>
                <c:pt idx="105">
                  <c:v>44475</c:v>
                </c:pt>
                <c:pt idx="106">
                  <c:v>44476</c:v>
                </c:pt>
                <c:pt idx="107">
                  <c:v>44477</c:v>
                </c:pt>
                <c:pt idx="108">
                  <c:v>44478</c:v>
                </c:pt>
                <c:pt idx="109">
                  <c:v>44479</c:v>
                </c:pt>
                <c:pt idx="110">
                  <c:v>44480</c:v>
                </c:pt>
                <c:pt idx="111">
                  <c:v>44481</c:v>
                </c:pt>
                <c:pt idx="112">
                  <c:v>44482</c:v>
                </c:pt>
                <c:pt idx="113">
                  <c:v>44483</c:v>
                </c:pt>
                <c:pt idx="114">
                  <c:v>44484</c:v>
                </c:pt>
                <c:pt idx="115">
                  <c:v>44485</c:v>
                </c:pt>
                <c:pt idx="116">
                  <c:v>44486</c:v>
                </c:pt>
                <c:pt idx="117">
                  <c:v>44487</c:v>
                </c:pt>
                <c:pt idx="118">
                  <c:v>44488</c:v>
                </c:pt>
                <c:pt idx="119">
                  <c:v>44489</c:v>
                </c:pt>
                <c:pt idx="120">
                  <c:v>44490</c:v>
                </c:pt>
                <c:pt idx="121">
                  <c:v>44491</c:v>
                </c:pt>
                <c:pt idx="122">
                  <c:v>44492</c:v>
                </c:pt>
                <c:pt idx="123">
                  <c:v>44493</c:v>
                </c:pt>
                <c:pt idx="124">
                  <c:v>44494</c:v>
                </c:pt>
                <c:pt idx="125">
                  <c:v>44495</c:v>
                </c:pt>
                <c:pt idx="126">
                  <c:v>44496</c:v>
                </c:pt>
                <c:pt idx="127">
                  <c:v>44497</c:v>
                </c:pt>
                <c:pt idx="128">
                  <c:v>44498</c:v>
                </c:pt>
                <c:pt idx="129">
                  <c:v>44499</c:v>
                </c:pt>
                <c:pt idx="130">
                  <c:v>44500</c:v>
                </c:pt>
                <c:pt idx="131">
                  <c:v>44501</c:v>
                </c:pt>
                <c:pt idx="132">
                  <c:v>44502</c:v>
                </c:pt>
                <c:pt idx="133">
                  <c:v>44503</c:v>
                </c:pt>
                <c:pt idx="134">
                  <c:v>44504</c:v>
                </c:pt>
                <c:pt idx="135">
                  <c:v>44505</c:v>
                </c:pt>
                <c:pt idx="136">
                  <c:v>44506</c:v>
                </c:pt>
                <c:pt idx="137">
                  <c:v>44507</c:v>
                </c:pt>
                <c:pt idx="138">
                  <c:v>44508</c:v>
                </c:pt>
                <c:pt idx="139">
                  <c:v>44509</c:v>
                </c:pt>
                <c:pt idx="140">
                  <c:v>44510</c:v>
                </c:pt>
                <c:pt idx="141">
                  <c:v>44511</c:v>
                </c:pt>
                <c:pt idx="142">
                  <c:v>44512</c:v>
                </c:pt>
                <c:pt idx="143">
                  <c:v>44513</c:v>
                </c:pt>
                <c:pt idx="144">
                  <c:v>44514</c:v>
                </c:pt>
                <c:pt idx="145">
                  <c:v>44515</c:v>
                </c:pt>
                <c:pt idx="146">
                  <c:v>44516</c:v>
                </c:pt>
                <c:pt idx="147">
                  <c:v>44517</c:v>
                </c:pt>
                <c:pt idx="148">
                  <c:v>44518</c:v>
                </c:pt>
                <c:pt idx="149">
                  <c:v>44519</c:v>
                </c:pt>
                <c:pt idx="150">
                  <c:v>44520</c:v>
                </c:pt>
                <c:pt idx="151">
                  <c:v>44521</c:v>
                </c:pt>
                <c:pt idx="152">
                  <c:v>44522</c:v>
                </c:pt>
                <c:pt idx="153">
                  <c:v>44523</c:v>
                </c:pt>
                <c:pt idx="154">
                  <c:v>44524</c:v>
                </c:pt>
                <c:pt idx="155">
                  <c:v>44525</c:v>
                </c:pt>
              </c:numCache>
            </c:numRef>
          </c:cat>
          <c:val>
            <c:numRef>
              <c:f>Sheet1!$B$135:$B$292</c:f>
              <c:numCache>
                <c:formatCode>General</c:formatCode>
                <c:ptCount val="158"/>
                <c:pt idx="0">
                  <c:v>4</c:v>
                </c:pt>
                <c:pt idx="1">
                  <c:v>4</c:v>
                </c:pt>
                <c:pt idx="2">
                  <c:v>2</c:v>
                </c:pt>
                <c:pt idx="3">
                  <c:v>1</c:v>
                </c:pt>
                <c:pt idx="4">
                  <c:v>4</c:v>
                </c:pt>
                <c:pt idx="5">
                  <c:v>3</c:v>
                </c:pt>
                <c:pt idx="6">
                  <c:v>1</c:v>
                </c:pt>
                <c:pt idx="7">
                  <c:v>3</c:v>
                </c:pt>
                <c:pt idx="8">
                  <c:v>1</c:v>
                </c:pt>
                <c:pt idx="9">
                  <c:v>3</c:v>
                </c:pt>
                <c:pt idx="10">
                  <c:v>2</c:v>
                </c:pt>
                <c:pt idx="11">
                  <c:v>4</c:v>
                </c:pt>
                <c:pt idx="12">
                  <c:v>2</c:v>
                </c:pt>
                <c:pt idx="13">
                  <c:v>4</c:v>
                </c:pt>
                <c:pt idx="14">
                  <c:v>1</c:v>
                </c:pt>
                <c:pt idx="15">
                  <c:v>1</c:v>
                </c:pt>
                <c:pt idx="16">
                  <c:v>4</c:v>
                </c:pt>
                <c:pt idx="17">
                  <c:v>7</c:v>
                </c:pt>
                <c:pt idx="18">
                  <c:v>1</c:v>
                </c:pt>
                <c:pt idx="19">
                  <c:v>7</c:v>
                </c:pt>
                <c:pt idx="20">
                  <c:v>4</c:v>
                </c:pt>
                <c:pt idx="21">
                  <c:v>7</c:v>
                </c:pt>
                <c:pt idx="22">
                  <c:v>5</c:v>
                </c:pt>
                <c:pt idx="23">
                  <c:v>8</c:v>
                </c:pt>
                <c:pt idx="24">
                  <c:v>3</c:v>
                </c:pt>
                <c:pt idx="25">
                  <c:v>4</c:v>
                </c:pt>
                <c:pt idx="26">
                  <c:v>10</c:v>
                </c:pt>
                <c:pt idx="27">
                  <c:v>8</c:v>
                </c:pt>
                <c:pt idx="28">
                  <c:v>7</c:v>
                </c:pt>
                <c:pt idx="29">
                  <c:v>7</c:v>
                </c:pt>
                <c:pt idx="30">
                  <c:v>6</c:v>
                </c:pt>
                <c:pt idx="31">
                  <c:v>1</c:v>
                </c:pt>
                <c:pt idx="32">
                  <c:v>3</c:v>
                </c:pt>
                <c:pt idx="33">
                  <c:v>9</c:v>
                </c:pt>
                <c:pt idx="34">
                  <c:v>5</c:v>
                </c:pt>
                <c:pt idx="35">
                  <c:v>2</c:v>
                </c:pt>
                <c:pt idx="36">
                  <c:v>8</c:v>
                </c:pt>
                <c:pt idx="37">
                  <c:v>4</c:v>
                </c:pt>
                <c:pt idx="38">
                  <c:v>2</c:v>
                </c:pt>
                <c:pt idx="39">
                  <c:v>1</c:v>
                </c:pt>
                <c:pt idx="40">
                  <c:v>2</c:v>
                </c:pt>
                <c:pt idx="41">
                  <c:v>6</c:v>
                </c:pt>
                <c:pt idx="42">
                  <c:v>11</c:v>
                </c:pt>
                <c:pt idx="43">
                  <c:v>3</c:v>
                </c:pt>
                <c:pt idx="44">
                  <c:v>6</c:v>
                </c:pt>
                <c:pt idx="45">
                  <c:v>1</c:v>
                </c:pt>
                <c:pt idx="46">
                  <c:v>3</c:v>
                </c:pt>
                <c:pt idx="47">
                  <c:v>12</c:v>
                </c:pt>
                <c:pt idx="48">
                  <c:v>3</c:v>
                </c:pt>
                <c:pt idx="49">
                  <c:v>7</c:v>
                </c:pt>
                <c:pt idx="50">
                  <c:v>4</c:v>
                </c:pt>
                <c:pt idx="51">
                  <c:v>9</c:v>
                </c:pt>
                <c:pt idx="52">
                  <c:v>5</c:v>
                </c:pt>
                <c:pt idx="53">
                  <c:v>2</c:v>
                </c:pt>
                <c:pt idx="54">
                  <c:v>7</c:v>
                </c:pt>
                <c:pt idx="55">
                  <c:v>4</c:v>
                </c:pt>
                <c:pt idx="56">
                  <c:v>3</c:v>
                </c:pt>
                <c:pt idx="57">
                  <c:v>3</c:v>
                </c:pt>
                <c:pt idx="58">
                  <c:v>4</c:v>
                </c:pt>
                <c:pt idx="59">
                  <c:v>2</c:v>
                </c:pt>
                <c:pt idx="60">
                  <c:v>3</c:v>
                </c:pt>
                <c:pt idx="61">
                  <c:v>8</c:v>
                </c:pt>
                <c:pt idx="62">
                  <c:v>5</c:v>
                </c:pt>
                <c:pt idx="63">
                  <c:v>6</c:v>
                </c:pt>
                <c:pt idx="64">
                  <c:v>5</c:v>
                </c:pt>
                <c:pt idx="65">
                  <c:v>4</c:v>
                </c:pt>
                <c:pt idx="66">
                  <c:v>3</c:v>
                </c:pt>
                <c:pt idx="67">
                  <c:v>2</c:v>
                </c:pt>
                <c:pt idx="68">
                  <c:v>1</c:v>
                </c:pt>
                <c:pt idx="69">
                  <c:v>7</c:v>
                </c:pt>
                <c:pt idx="70">
                  <c:v>8</c:v>
                </c:pt>
                <c:pt idx="71">
                  <c:v>12</c:v>
                </c:pt>
                <c:pt idx="72">
                  <c:v>13</c:v>
                </c:pt>
                <c:pt idx="73">
                  <c:v>9</c:v>
                </c:pt>
                <c:pt idx="74">
                  <c:v>3</c:v>
                </c:pt>
                <c:pt idx="75">
                  <c:v>7</c:v>
                </c:pt>
                <c:pt idx="76">
                  <c:v>12</c:v>
                </c:pt>
                <c:pt idx="77">
                  <c:v>2</c:v>
                </c:pt>
                <c:pt idx="78">
                  <c:v>7</c:v>
                </c:pt>
                <c:pt idx="79">
                  <c:v>5</c:v>
                </c:pt>
                <c:pt idx="80">
                  <c:v>4</c:v>
                </c:pt>
                <c:pt idx="81">
                  <c:v>5</c:v>
                </c:pt>
                <c:pt idx="82">
                  <c:v>9</c:v>
                </c:pt>
                <c:pt idx="83">
                  <c:v>10</c:v>
                </c:pt>
                <c:pt idx="84">
                  <c:v>8</c:v>
                </c:pt>
                <c:pt idx="85">
                  <c:v>16</c:v>
                </c:pt>
                <c:pt idx="86">
                  <c:v>12</c:v>
                </c:pt>
                <c:pt idx="87">
                  <c:v>5</c:v>
                </c:pt>
                <c:pt idx="88">
                  <c:v>9</c:v>
                </c:pt>
                <c:pt idx="89">
                  <c:v>18</c:v>
                </c:pt>
                <c:pt idx="90">
                  <c:v>19</c:v>
                </c:pt>
                <c:pt idx="91">
                  <c:v>17</c:v>
                </c:pt>
                <c:pt idx="92">
                  <c:v>14</c:v>
                </c:pt>
                <c:pt idx="93">
                  <c:v>15</c:v>
                </c:pt>
                <c:pt idx="94">
                  <c:v>11</c:v>
                </c:pt>
                <c:pt idx="95">
                  <c:v>10</c:v>
                </c:pt>
                <c:pt idx="96">
                  <c:v>18</c:v>
                </c:pt>
                <c:pt idx="97">
                  <c:v>19</c:v>
                </c:pt>
                <c:pt idx="98">
                  <c:v>24</c:v>
                </c:pt>
                <c:pt idx="99">
                  <c:v>37</c:v>
                </c:pt>
                <c:pt idx="100">
                  <c:v>21</c:v>
                </c:pt>
                <c:pt idx="101">
                  <c:v>14</c:v>
                </c:pt>
                <c:pt idx="102">
                  <c:v>16</c:v>
                </c:pt>
                <c:pt idx="103">
                  <c:v>19</c:v>
                </c:pt>
                <c:pt idx="104">
                  <c:v>28</c:v>
                </c:pt>
                <c:pt idx="105">
                  <c:v>27</c:v>
                </c:pt>
                <c:pt idx="106">
                  <c:v>30</c:v>
                </c:pt>
                <c:pt idx="107">
                  <c:v>25</c:v>
                </c:pt>
                <c:pt idx="108">
                  <c:v>14</c:v>
                </c:pt>
                <c:pt idx="109">
                  <c:v>10</c:v>
                </c:pt>
                <c:pt idx="110">
                  <c:v>40</c:v>
                </c:pt>
                <c:pt idx="111">
                  <c:v>60</c:v>
                </c:pt>
                <c:pt idx="112">
                  <c:v>47</c:v>
                </c:pt>
                <c:pt idx="113">
                  <c:v>46</c:v>
                </c:pt>
                <c:pt idx="114">
                  <c:v>37</c:v>
                </c:pt>
                <c:pt idx="115">
                  <c:v>24</c:v>
                </c:pt>
                <c:pt idx="116">
                  <c:v>31</c:v>
                </c:pt>
                <c:pt idx="117">
                  <c:v>91</c:v>
                </c:pt>
                <c:pt idx="118">
                  <c:v>101</c:v>
                </c:pt>
                <c:pt idx="119">
                  <c:v>89</c:v>
                </c:pt>
                <c:pt idx="120">
                  <c:v>119</c:v>
                </c:pt>
                <c:pt idx="121">
                  <c:v>106</c:v>
                </c:pt>
                <c:pt idx="122">
                  <c:v>76</c:v>
                </c:pt>
                <c:pt idx="123">
                  <c:v>44</c:v>
                </c:pt>
                <c:pt idx="124">
                  <c:v>175</c:v>
                </c:pt>
                <c:pt idx="125">
                  <c:v>174</c:v>
                </c:pt>
                <c:pt idx="126">
                  <c:v>164</c:v>
                </c:pt>
                <c:pt idx="127">
                  <c:v>97</c:v>
                </c:pt>
                <c:pt idx="128">
                  <c:v>201</c:v>
                </c:pt>
                <c:pt idx="129">
                  <c:v>139</c:v>
                </c:pt>
                <c:pt idx="130">
                  <c:v>97</c:v>
                </c:pt>
                <c:pt idx="131">
                  <c:v>303</c:v>
                </c:pt>
                <c:pt idx="132">
                  <c:v>271</c:v>
                </c:pt>
                <c:pt idx="133">
                  <c:v>262</c:v>
                </c:pt>
                <c:pt idx="134">
                  <c:v>244</c:v>
                </c:pt>
                <c:pt idx="135">
                  <c:v>284</c:v>
                </c:pt>
                <c:pt idx="136">
                  <c:v>159</c:v>
                </c:pt>
                <c:pt idx="137">
                  <c:v>86</c:v>
                </c:pt>
                <c:pt idx="138">
                  <c:v>316</c:v>
                </c:pt>
                <c:pt idx="139">
                  <c:v>341</c:v>
                </c:pt>
                <c:pt idx="140">
                  <c:v>358</c:v>
                </c:pt>
                <c:pt idx="141">
                  <c:v>264</c:v>
                </c:pt>
                <c:pt idx="142">
                  <c:v>376</c:v>
                </c:pt>
                <c:pt idx="143">
                  <c:v>242</c:v>
                </c:pt>
                <c:pt idx="144">
                  <c:v>130</c:v>
                </c:pt>
                <c:pt idx="145">
                  <c:v>389</c:v>
                </c:pt>
                <c:pt idx="146">
                  <c:v>489</c:v>
                </c:pt>
                <c:pt idx="147">
                  <c:v>304</c:v>
                </c:pt>
                <c:pt idx="148">
                  <c:v>389</c:v>
                </c:pt>
                <c:pt idx="149">
                  <c:v>569</c:v>
                </c:pt>
                <c:pt idx="150">
                  <c:v>325</c:v>
                </c:pt>
                <c:pt idx="151">
                  <c:v>205</c:v>
                </c:pt>
                <c:pt idx="152">
                  <c:v>452</c:v>
                </c:pt>
                <c:pt idx="153">
                  <c:v>509</c:v>
                </c:pt>
                <c:pt idx="154">
                  <c:v>338</c:v>
                </c:pt>
                <c:pt idx="155">
                  <c:v>4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9F-460A-A36A-554DEDA2A4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7466795309236889"/>
          <c:h val="0.90552881115878769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31750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00</c:f>
              <c:numCache>
                <c:formatCode>m/d/yyyy</c:formatCode>
                <c:ptCount val="299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</c:numCache>
            </c:numRef>
          </c:cat>
          <c:val>
            <c:numRef>
              <c:f>List1!$B$2:$B$300</c:f>
              <c:numCache>
                <c:formatCode>General</c:formatCode>
                <c:ptCount val="299"/>
                <c:pt idx="0">
                  <c:v>81.180081180081004</c:v>
                </c:pt>
                <c:pt idx="1">
                  <c:v>64.319022350859996</c:v>
                </c:pt>
                <c:pt idx="2">
                  <c:v>52.977973388755998</c:v>
                </c:pt>
                <c:pt idx="3">
                  <c:v>78.203782593483993</c:v>
                </c:pt>
                <c:pt idx="4">
                  <c:v>53.78234697888</c:v>
                </c:pt>
                <c:pt idx="5">
                  <c:v>35.365092573330003</c:v>
                </c:pt>
                <c:pt idx="6">
                  <c:v>33.483310662340998</c:v>
                </c:pt>
                <c:pt idx="7">
                  <c:v>42.714050787006002</c:v>
                </c:pt>
                <c:pt idx="8">
                  <c:v>50.404330389427997</c:v>
                </c:pt>
                <c:pt idx="9">
                  <c:v>69.687977699846996</c:v>
                </c:pt>
                <c:pt idx="10">
                  <c:v>62.546330615270001</c:v>
                </c:pt>
                <c:pt idx="11">
                  <c:v>64.815037088604001</c:v>
                </c:pt>
                <c:pt idx="12">
                  <c:v>26.545042110089</c:v>
                </c:pt>
                <c:pt idx="13">
                  <c:v>19.396760740956001</c:v>
                </c:pt>
                <c:pt idx="14">
                  <c:v>60.240963855421001</c:v>
                </c:pt>
                <c:pt idx="15">
                  <c:v>89.075189939742998</c:v>
                </c:pt>
                <c:pt idx="16">
                  <c:v>35.43103213322</c:v>
                </c:pt>
                <c:pt idx="17">
                  <c:v>79.961161721449002</c:v>
                </c:pt>
                <c:pt idx="18">
                  <c:v>68.450343739768996</c:v>
                </c:pt>
                <c:pt idx="19">
                  <c:v>39.041383866898002</c:v>
                </c:pt>
                <c:pt idx="20">
                  <c:v>24.177949709863999</c:v>
                </c:pt>
                <c:pt idx="21">
                  <c:v>104.222594195117</c:v>
                </c:pt>
                <c:pt idx="22">
                  <c:v>98.222178567919997</c:v>
                </c:pt>
                <c:pt idx="23">
                  <c:v>77.897446318497998</c:v>
                </c:pt>
                <c:pt idx="24">
                  <c:v>115.546218487394</c:v>
                </c:pt>
                <c:pt idx="25">
                  <c:v>137.08513708513701</c:v>
                </c:pt>
                <c:pt idx="26">
                  <c:v>76.144892853257005</c:v>
                </c:pt>
                <c:pt idx="27">
                  <c:v>58.097312999273001</c:v>
                </c:pt>
                <c:pt idx="28">
                  <c:v>104.100829088745</c:v>
                </c:pt>
                <c:pt idx="29">
                  <c:v>155.31479657549801</c:v>
                </c:pt>
                <c:pt idx="30">
                  <c:v>122.821831580563</c:v>
                </c:pt>
                <c:pt idx="31">
                  <c:v>70.068901086067001</c:v>
                </c:pt>
                <c:pt idx="32">
                  <c:v>90.754843546540997</c:v>
                </c:pt>
                <c:pt idx="33">
                  <c:v>31.616804331501999</c:v>
                </c:pt>
                <c:pt idx="34">
                  <c:v>31.668118122079999</c:v>
                </c:pt>
                <c:pt idx="35">
                  <c:v>79.936051159071994</c:v>
                </c:pt>
                <c:pt idx="36">
                  <c:v>68.820338434134001</c:v>
                </c:pt>
                <c:pt idx="37">
                  <c:v>77.655617770874997</c:v>
                </c:pt>
                <c:pt idx="38">
                  <c:v>24.741247783595998</c:v>
                </c:pt>
                <c:pt idx="39">
                  <c:v>70.901280393709996</c:v>
                </c:pt>
                <c:pt idx="40">
                  <c:v>37.561036684611999</c:v>
                </c:pt>
                <c:pt idx="41">
                  <c:v>16.703553681045001</c:v>
                </c:pt>
                <c:pt idx="42">
                  <c:v>88.253834839250999</c:v>
                </c:pt>
                <c:pt idx="43">
                  <c:v>109.978427308489</c:v>
                </c:pt>
                <c:pt idx="44">
                  <c:v>29.796109479418998</c:v>
                </c:pt>
                <c:pt idx="45">
                  <c:v>42.822884549503001</c:v>
                </c:pt>
                <c:pt idx="46">
                  <c:v>38.959352408986</c:v>
                </c:pt>
                <c:pt idx="47">
                  <c:v>21.651582730697001</c:v>
                </c:pt>
                <c:pt idx="48">
                  <c:v>21.659085986571</c:v>
                </c:pt>
                <c:pt idx="49">
                  <c:v>30.574361214237999</c:v>
                </c:pt>
                <c:pt idx="50">
                  <c:v>65.960160063320998</c:v>
                </c:pt>
                <c:pt idx="51">
                  <c:v>26.589851539994999</c:v>
                </c:pt>
                <c:pt idx="52">
                  <c:v>35.824638395055999</c:v>
                </c:pt>
                <c:pt idx="53">
                  <c:v>36.287761952281002</c:v>
                </c:pt>
                <c:pt idx="54">
                  <c:v>36.361983546201998</c:v>
                </c:pt>
                <c:pt idx="55">
                  <c:v>4.5610034207519998</c:v>
                </c:pt>
                <c:pt idx="56">
                  <c:v>60.112827152500998</c:v>
                </c:pt>
                <c:pt idx="57">
                  <c:v>51.616536061189002</c:v>
                </c:pt>
                <c:pt idx="58">
                  <c:v>23.822002001047998</c:v>
                </c:pt>
                <c:pt idx="59">
                  <c:v>29.038815216339</c:v>
                </c:pt>
                <c:pt idx="60">
                  <c:v>19.800999950497001</c:v>
                </c:pt>
                <c:pt idx="61">
                  <c:v>14.882428812382001</c:v>
                </c:pt>
                <c:pt idx="62">
                  <c:v>19.87676406281</c:v>
                </c:pt>
                <c:pt idx="63">
                  <c:v>25.214321734744999</c:v>
                </c:pt>
                <c:pt idx="64">
                  <c:v>46.116007378561001</c:v>
                </c:pt>
                <c:pt idx="65">
                  <c:v>10.457516339869001</c:v>
                </c:pt>
                <c:pt idx="66">
                  <c:v>5.3356098602069997</c:v>
                </c:pt>
                <c:pt idx="67">
                  <c:v>10.943912448700001</c:v>
                </c:pt>
                <c:pt idx="68">
                  <c:v>10.989614813999999</c:v>
                </c:pt>
                <c:pt idx="69">
                  <c:v>5.5099454515400001</c:v>
                </c:pt>
                <c:pt idx="70">
                  <c:v>16.803898504452999</c:v>
                </c:pt>
                <c:pt idx="71">
                  <c:v>11.417480162127999</c:v>
                </c:pt>
                <c:pt idx="72">
                  <c:v>52.301255230125001</c:v>
                </c:pt>
                <c:pt idx="73">
                  <c:v>17.810496319163999</c:v>
                </c:pt>
                <c:pt idx="74">
                  <c:v>17.912586577500999</c:v>
                </c:pt>
                <c:pt idx="75">
                  <c:v>6.0067275348390003</c:v>
                </c:pt>
                <c:pt idx="76">
                  <c:v>12.049644535485999</c:v>
                </c:pt>
                <c:pt idx="77">
                  <c:v>36.218761318361999</c:v>
                </c:pt>
                <c:pt idx="78">
                  <c:v>24.604785630805001</c:v>
                </c:pt>
                <c:pt idx="79">
                  <c:v>31.197354464341</c:v>
                </c:pt>
                <c:pt idx="80">
                  <c:v>6.3479972068809998</c:v>
                </c:pt>
                <c:pt idx="81">
                  <c:v>19.363583553862998</c:v>
                </c:pt>
                <c:pt idx="82">
                  <c:v>6.4956154595640001</c:v>
                </c:pt>
                <c:pt idx="83">
                  <c:v>6.5172054223140004</c:v>
                </c:pt>
                <c:pt idx="84">
                  <c:v>13.176966662273999</c:v>
                </c:pt>
                <c:pt idx="85">
                  <c:v>6.6591196643800004</c:v>
                </c:pt>
                <c:pt idx="86">
                  <c:v>40.455802036275003</c:v>
                </c:pt>
                <c:pt idx="87">
                  <c:v>13.645357167223001</c:v>
                </c:pt>
                <c:pt idx="88">
                  <c:v>20.745453288154</c:v>
                </c:pt>
                <c:pt idx="89">
                  <c:v>6.929526713325</c:v>
                </c:pt>
                <c:pt idx="90">
                  <c:v>0</c:v>
                </c:pt>
                <c:pt idx="91">
                  <c:v>6.9881201956670003</c:v>
                </c:pt>
                <c:pt idx="92">
                  <c:v>7.0432455275389998</c:v>
                </c:pt>
                <c:pt idx="93">
                  <c:v>7.0831562544260001</c:v>
                </c:pt>
                <c:pt idx="94">
                  <c:v>0</c:v>
                </c:pt>
                <c:pt idx="95">
                  <c:v>0</c:v>
                </c:pt>
                <c:pt idx="96">
                  <c:v>7.1989057663229996</c:v>
                </c:pt>
                <c:pt idx="97">
                  <c:v>7.2072072072070004</c:v>
                </c:pt>
                <c:pt idx="98">
                  <c:v>0</c:v>
                </c:pt>
                <c:pt idx="99">
                  <c:v>14.492753623187999</c:v>
                </c:pt>
                <c:pt idx="100">
                  <c:v>0</c:v>
                </c:pt>
                <c:pt idx="101">
                  <c:v>14.63378941977</c:v>
                </c:pt>
                <c:pt idx="102">
                  <c:v>14.714537963507</c:v>
                </c:pt>
                <c:pt idx="103">
                  <c:v>7.3637702503679998</c:v>
                </c:pt>
                <c:pt idx="104">
                  <c:v>0</c:v>
                </c:pt>
                <c:pt idx="105">
                  <c:v>14.790711433219</c:v>
                </c:pt>
                <c:pt idx="106">
                  <c:v>14.832393948383</c:v>
                </c:pt>
                <c:pt idx="107">
                  <c:v>22.304832713753999</c:v>
                </c:pt>
                <c:pt idx="108">
                  <c:v>7.4548978678989997</c:v>
                </c:pt>
                <c:pt idx="109">
                  <c:v>7.4968138541120002</c:v>
                </c:pt>
                <c:pt idx="110">
                  <c:v>0</c:v>
                </c:pt>
                <c:pt idx="111">
                  <c:v>7.5221904618620004</c:v>
                </c:pt>
                <c:pt idx="112">
                  <c:v>0</c:v>
                </c:pt>
                <c:pt idx="113">
                  <c:v>7.5717422578929998</c:v>
                </c:pt>
                <c:pt idx="114">
                  <c:v>15.192950470981</c:v>
                </c:pt>
                <c:pt idx="115">
                  <c:v>0</c:v>
                </c:pt>
                <c:pt idx="116">
                  <c:v>7.6587271195520001</c:v>
                </c:pt>
                <c:pt idx="117">
                  <c:v>0</c:v>
                </c:pt>
                <c:pt idx="118">
                  <c:v>7.7232004942839998</c:v>
                </c:pt>
                <c:pt idx="119">
                  <c:v>0</c:v>
                </c:pt>
                <c:pt idx="120">
                  <c:v>7.8468298807280004</c:v>
                </c:pt>
                <c:pt idx="121">
                  <c:v>0</c:v>
                </c:pt>
                <c:pt idx="122">
                  <c:v>8.0051232788979991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16.786973308712</c:v>
                </c:pt>
                <c:pt idx="131">
                  <c:v>0</c:v>
                </c:pt>
                <c:pt idx="132">
                  <c:v>0</c:v>
                </c:pt>
                <c:pt idx="133">
                  <c:v>8.5829542528529998</c:v>
                </c:pt>
                <c:pt idx="135">
                  <c:v>0</c:v>
                </c:pt>
                <c:pt idx="136">
                  <c:v>0</c:v>
                </c:pt>
                <c:pt idx="137">
                  <c:v>8.8534749889329998</c:v>
                </c:pt>
                <c:pt idx="138">
                  <c:v>0</c:v>
                </c:pt>
                <c:pt idx="139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50">
                  <c:v>0</c:v>
                </c:pt>
                <c:pt idx="151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1">
                  <c:v>0</c:v>
                </c:pt>
                <c:pt idx="162">
                  <c:v>10.087763542822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20.63344681729</c:v>
                </c:pt>
                <c:pt idx="167">
                  <c:v>0</c:v>
                </c:pt>
                <c:pt idx="168">
                  <c:v>20.644095788604002</c:v>
                </c:pt>
                <c:pt idx="169">
                  <c:v>0</c:v>
                </c:pt>
                <c:pt idx="170">
                  <c:v>10.385294423095999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10.535187526336999</c:v>
                </c:pt>
                <c:pt idx="175">
                  <c:v>10.588733587462</c:v>
                </c:pt>
                <c:pt idx="176">
                  <c:v>10.64282673478</c:v>
                </c:pt>
                <c:pt idx="177">
                  <c:v>0</c:v>
                </c:pt>
                <c:pt idx="178">
                  <c:v>21.512315800795001</c:v>
                </c:pt>
                <c:pt idx="179">
                  <c:v>21.645021645021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44.164734459534003</c:v>
                </c:pt>
                <c:pt idx="185">
                  <c:v>0</c:v>
                </c:pt>
                <c:pt idx="186">
                  <c:v>22.274195344692998</c:v>
                </c:pt>
                <c:pt idx="187">
                  <c:v>0</c:v>
                </c:pt>
                <c:pt idx="188">
                  <c:v>11.161960040183001</c:v>
                </c:pt>
                <c:pt idx="189">
                  <c:v>11.205737337516</c:v>
                </c:pt>
                <c:pt idx="190">
                  <c:v>0</c:v>
                </c:pt>
                <c:pt idx="191">
                  <c:v>22.588660492431998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22.901637467078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11.640088464672001</c:v>
                </c:pt>
                <c:pt idx="201">
                  <c:v>0</c:v>
                </c:pt>
                <c:pt idx="202">
                  <c:v>0</c:v>
                </c:pt>
                <c:pt idx="203">
                  <c:v>11.693171188026</c:v>
                </c:pt>
                <c:pt idx="204">
                  <c:v>0</c:v>
                </c:pt>
                <c:pt idx="205">
                  <c:v>0</c:v>
                </c:pt>
                <c:pt idx="206">
                  <c:v>11.832919181160999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12.016342225426</c:v>
                </c:pt>
                <c:pt idx="213">
                  <c:v>12.05400192864</c:v>
                </c:pt>
                <c:pt idx="214">
                  <c:v>0</c:v>
                </c:pt>
                <c:pt idx="215">
                  <c:v>12.100677637946999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12.196609342602001</c:v>
                </c:pt>
                <c:pt idx="223">
                  <c:v>0</c:v>
                </c:pt>
                <c:pt idx="224">
                  <c:v>0</c:v>
                </c:pt>
                <c:pt idx="225">
                  <c:v>12.196609342602001</c:v>
                </c:pt>
                <c:pt idx="226">
                  <c:v>0</c:v>
                </c:pt>
                <c:pt idx="227">
                  <c:v>0</c:v>
                </c:pt>
                <c:pt idx="228">
                  <c:v>12.195121951219001</c:v>
                </c:pt>
                <c:pt idx="229">
                  <c:v>12.177301509985</c:v>
                </c:pt>
                <c:pt idx="230">
                  <c:v>0</c:v>
                </c:pt>
                <c:pt idx="231">
                  <c:v>0</c:v>
                </c:pt>
                <c:pt idx="232">
                  <c:v>12.149192078725999</c:v>
                </c:pt>
                <c:pt idx="233">
                  <c:v>24.304289707133002</c:v>
                </c:pt>
                <c:pt idx="234">
                  <c:v>0</c:v>
                </c:pt>
                <c:pt idx="235">
                  <c:v>12.171372930865999</c:v>
                </c:pt>
                <c:pt idx="236">
                  <c:v>0</c:v>
                </c:pt>
                <c:pt idx="237">
                  <c:v>12.131505519835001</c:v>
                </c:pt>
                <c:pt idx="238">
                  <c:v>24.230676035860998</c:v>
                </c:pt>
                <c:pt idx="239">
                  <c:v>12.109469605231</c:v>
                </c:pt>
                <c:pt idx="240">
                  <c:v>12.102142079148001</c:v>
                </c:pt>
                <c:pt idx="241">
                  <c:v>12.112403100774999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2.163970319912</c:v>
                </c:pt>
                <c:pt idx="248">
                  <c:v>12.201073694485</c:v>
                </c:pt>
                <c:pt idx="249">
                  <c:v>12.236906510034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36.773719048785999</c:v>
                </c:pt>
                <c:pt idx="254">
                  <c:v>12.29861025704</c:v>
                </c:pt>
                <c:pt idx="255">
                  <c:v>36.945812807880998</c:v>
                </c:pt>
                <c:pt idx="256">
                  <c:v>12.341108231519</c:v>
                </c:pt>
                <c:pt idx="257">
                  <c:v>0</c:v>
                </c:pt>
                <c:pt idx="258">
                  <c:v>24.679170779861</c:v>
                </c:pt>
                <c:pt idx="259">
                  <c:v>49.388813433757001</c:v>
                </c:pt>
                <c:pt idx="260">
                  <c:v>61.858220957565003</c:v>
                </c:pt>
                <c:pt idx="261">
                  <c:v>24.773937817416002</c:v>
                </c:pt>
                <c:pt idx="262">
                  <c:v>37.239324726911001</c:v>
                </c:pt>
                <c:pt idx="263">
                  <c:v>74.552683896619996</c:v>
                </c:pt>
                <c:pt idx="264">
                  <c:v>86.988939977631006</c:v>
                </c:pt>
                <c:pt idx="265">
                  <c:v>49.701789264413001</c:v>
                </c:pt>
                <c:pt idx="266">
                  <c:v>87.205680827207999</c:v>
                </c:pt>
                <c:pt idx="267">
                  <c:v>37.401820221916999</c:v>
                </c:pt>
                <c:pt idx="268">
                  <c:v>74.859638178414997</c:v>
                </c:pt>
                <c:pt idx="269">
                  <c:v>87.423504433619996</c:v>
                </c:pt>
                <c:pt idx="270">
                  <c:v>100.125156445556</c:v>
                </c:pt>
                <c:pt idx="271">
                  <c:v>87.653393438517</c:v>
                </c:pt>
                <c:pt idx="272">
                  <c:v>25.043826696719002</c:v>
                </c:pt>
                <c:pt idx="273">
                  <c:v>163.09120562037299</c:v>
                </c:pt>
                <c:pt idx="274">
                  <c:v>163.19357268390601</c:v>
                </c:pt>
                <c:pt idx="275">
                  <c:v>150.92441202364401</c:v>
                </c:pt>
                <c:pt idx="276">
                  <c:v>88.216761184625</c:v>
                </c:pt>
                <c:pt idx="277">
                  <c:v>151.76425951688299</c:v>
                </c:pt>
                <c:pt idx="278">
                  <c:v>37.984299822738997</c:v>
                </c:pt>
                <c:pt idx="279">
                  <c:v>50.671395996958999</c:v>
                </c:pt>
                <c:pt idx="280">
                  <c:v>177.755205688166</c:v>
                </c:pt>
                <c:pt idx="281">
                  <c:v>76.394194041252007</c:v>
                </c:pt>
                <c:pt idx="282">
                  <c:v>153.29586101175201</c:v>
                </c:pt>
                <c:pt idx="283">
                  <c:v>166.197903349526</c:v>
                </c:pt>
                <c:pt idx="284">
                  <c:v>128.09017548354001</c:v>
                </c:pt>
                <c:pt idx="285">
                  <c:v>166.709412669915</c:v>
                </c:pt>
                <c:pt idx="286">
                  <c:v>51.328114974976998</c:v>
                </c:pt>
                <c:pt idx="287">
                  <c:v>257.53283543651798</c:v>
                </c:pt>
                <c:pt idx="288">
                  <c:v>283.98089583064399</c:v>
                </c:pt>
                <c:pt idx="289">
                  <c:v>194.09937888198701</c:v>
                </c:pt>
                <c:pt idx="290">
                  <c:v>259.63910164870799</c:v>
                </c:pt>
                <c:pt idx="291">
                  <c:v>417.59102179303102</c:v>
                </c:pt>
                <c:pt idx="292">
                  <c:v>235.32487906915901</c:v>
                </c:pt>
                <c:pt idx="293">
                  <c:v>157.12976299594001</c:v>
                </c:pt>
                <c:pt idx="294">
                  <c:v>210.02887897085799</c:v>
                </c:pt>
                <c:pt idx="295">
                  <c:v>223.59594896751199</c:v>
                </c:pt>
                <c:pt idx="296">
                  <c:v>105.443521813628</c:v>
                </c:pt>
                <c:pt idx="297">
                  <c:v>317.628374801481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4E6-4811-8DF5-DE90F2DCF13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00</c:f>
              <c:numCache>
                <c:formatCode>m/d/yyyy</c:formatCode>
                <c:ptCount val="299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</c:numCache>
            </c:numRef>
          </c:cat>
          <c:val>
            <c:numRef>
              <c:f>List1!$C$2:$C$300</c:f>
              <c:numCache>
                <c:formatCode>General</c:formatCode>
                <c:ptCount val="29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2.301636117603</c:v>
                </c:pt>
                <c:pt idx="11">
                  <c:v>10.376673238559</c:v>
                </c:pt>
                <c:pt idx="12">
                  <c:v>0</c:v>
                </c:pt>
                <c:pt idx="13">
                  <c:v>0</c:v>
                </c:pt>
                <c:pt idx="14">
                  <c:v>8.7374399301000008</c:v>
                </c:pt>
                <c:pt idx="15">
                  <c:v>22.879804758999001</c:v>
                </c:pt>
                <c:pt idx="16">
                  <c:v>6.8549492733750004</c:v>
                </c:pt>
                <c:pt idx="17">
                  <c:v>12.300879512885</c:v>
                </c:pt>
                <c:pt idx="18">
                  <c:v>0</c:v>
                </c:pt>
                <c:pt idx="19">
                  <c:v>11.128421989761</c:v>
                </c:pt>
                <c:pt idx="20">
                  <c:v>5.5008526321569997</c:v>
                </c:pt>
                <c:pt idx="21">
                  <c:v>15.305341564204999</c:v>
                </c:pt>
                <c:pt idx="22">
                  <c:v>9.6534414518770006</c:v>
                </c:pt>
                <c:pt idx="23">
                  <c:v>13.804527885145999</c:v>
                </c:pt>
                <c:pt idx="24">
                  <c:v>13.218770654328999</c:v>
                </c:pt>
                <c:pt idx="25">
                  <c:v>8.4990651028379993</c:v>
                </c:pt>
                <c:pt idx="26">
                  <c:v>8.4495141529360005</c:v>
                </c:pt>
                <c:pt idx="27">
                  <c:v>12.655024044545</c:v>
                </c:pt>
                <c:pt idx="28">
                  <c:v>16.430478537687002</c:v>
                </c:pt>
                <c:pt idx="29">
                  <c:v>4.02576489533</c:v>
                </c:pt>
                <c:pt idx="30">
                  <c:v>11.913744489893</c:v>
                </c:pt>
                <c:pt idx="31">
                  <c:v>7.8293208064200002</c:v>
                </c:pt>
                <c:pt idx="32">
                  <c:v>3.8623459889529999</c:v>
                </c:pt>
                <c:pt idx="33">
                  <c:v>7.7130736598530003</c:v>
                </c:pt>
                <c:pt idx="34">
                  <c:v>0</c:v>
                </c:pt>
                <c:pt idx="35">
                  <c:v>11.445139630703</c:v>
                </c:pt>
                <c:pt idx="36">
                  <c:v>15.077271013946</c:v>
                </c:pt>
                <c:pt idx="37">
                  <c:v>7.4727245553720003</c:v>
                </c:pt>
                <c:pt idx="38">
                  <c:v>7.4131732087920001</c:v>
                </c:pt>
                <c:pt idx="39">
                  <c:v>3.669320808718</c:v>
                </c:pt>
                <c:pt idx="40">
                  <c:v>3.6673023324040002</c:v>
                </c:pt>
                <c:pt idx="41">
                  <c:v>10.996261271167</c:v>
                </c:pt>
                <c:pt idx="42">
                  <c:v>7.2904895563730001</c:v>
                </c:pt>
                <c:pt idx="43">
                  <c:v>14.499583136984</c:v>
                </c:pt>
                <c:pt idx="44">
                  <c:v>10.817047667122999</c:v>
                </c:pt>
                <c:pt idx="45">
                  <c:v>10.762331838565</c:v>
                </c:pt>
                <c:pt idx="46">
                  <c:v>10.666666666666</c:v>
                </c:pt>
                <c:pt idx="47">
                  <c:v>3.554544485124</c:v>
                </c:pt>
                <c:pt idx="48">
                  <c:v>3.5536602700779998</c:v>
                </c:pt>
                <c:pt idx="49">
                  <c:v>10.589854918986999</c:v>
                </c:pt>
                <c:pt idx="50">
                  <c:v>7.0217322613480002</c:v>
                </c:pt>
                <c:pt idx="51">
                  <c:v>6.978854072161</c:v>
                </c:pt>
                <c:pt idx="52">
                  <c:v>3.4611657206139999</c:v>
                </c:pt>
                <c:pt idx="53">
                  <c:v>10.282423910063001</c:v>
                </c:pt>
                <c:pt idx="54">
                  <c:v>10.266589096882001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9.9235883695540004</c:v>
                </c:pt>
                <c:pt idx="59">
                  <c:v>3.2723583886899998</c:v>
                </c:pt>
                <c:pt idx="60">
                  <c:v>0</c:v>
                </c:pt>
                <c:pt idx="61">
                  <c:v>6.4376991663169996</c:v>
                </c:pt>
                <c:pt idx="62">
                  <c:v>0</c:v>
                </c:pt>
                <c:pt idx="63">
                  <c:v>0</c:v>
                </c:pt>
                <c:pt idx="64">
                  <c:v>3.1531815601940001</c:v>
                </c:pt>
                <c:pt idx="65">
                  <c:v>3.1145856043850002</c:v>
                </c:pt>
                <c:pt idx="66">
                  <c:v>15.388876919762</c:v>
                </c:pt>
                <c:pt idx="67">
                  <c:v>6.0679611650479996</c:v>
                </c:pt>
                <c:pt idx="68">
                  <c:v>0</c:v>
                </c:pt>
                <c:pt idx="69">
                  <c:v>3.0220610456329999</c:v>
                </c:pt>
                <c:pt idx="70">
                  <c:v>5.9903555276000002</c:v>
                </c:pt>
                <c:pt idx="71">
                  <c:v>2.9651593773160001</c:v>
                </c:pt>
                <c:pt idx="72">
                  <c:v>0</c:v>
                </c:pt>
                <c:pt idx="73">
                  <c:v>0</c:v>
                </c:pt>
                <c:pt idx="74">
                  <c:v>2.8986347430360002</c:v>
                </c:pt>
                <c:pt idx="75">
                  <c:v>5.7801797635899996</c:v>
                </c:pt>
                <c:pt idx="76">
                  <c:v>5.7715060745100004</c:v>
                </c:pt>
                <c:pt idx="77">
                  <c:v>5.7658488770999998</c:v>
                </c:pt>
                <c:pt idx="78">
                  <c:v>0</c:v>
                </c:pt>
                <c:pt idx="79">
                  <c:v>11.354281983592999</c:v>
                </c:pt>
                <c:pt idx="80">
                  <c:v>2.816504717645</c:v>
                </c:pt>
                <c:pt idx="81">
                  <c:v>8.3876198730670009</c:v>
                </c:pt>
                <c:pt idx="82">
                  <c:v>0</c:v>
                </c:pt>
                <c:pt idx="83">
                  <c:v>0</c:v>
                </c:pt>
                <c:pt idx="84">
                  <c:v>2.7710809986970002</c:v>
                </c:pt>
                <c:pt idx="85">
                  <c:v>5.5172413793099997</c:v>
                </c:pt>
                <c:pt idx="86">
                  <c:v>2.7444630458049999</c:v>
                </c:pt>
                <c:pt idx="87">
                  <c:v>13.656351569113999</c:v>
                </c:pt>
                <c:pt idx="88">
                  <c:v>2.7165792833659999</c:v>
                </c:pt>
                <c:pt idx="89">
                  <c:v>0</c:v>
                </c:pt>
                <c:pt idx="90">
                  <c:v>8.136475821106</c:v>
                </c:pt>
                <c:pt idx="91">
                  <c:v>2.7057009118209998</c:v>
                </c:pt>
                <c:pt idx="92">
                  <c:v>5.3951982735359998</c:v>
                </c:pt>
                <c:pt idx="93">
                  <c:v>10.767739851405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5.3457354395529997</c:v>
                </c:pt>
                <c:pt idx="99">
                  <c:v>0</c:v>
                </c:pt>
                <c:pt idx="100">
                  <c:v>0</c:v>
                </c:pt>
                <c:pt idx="101">
                  <c:v>7.9812706182820001</c:v>
                </c:pt>
                <c:pt idx="102">
                  <c:v>0</c:v>
                </c:pt>
                <c:pt idx="103">
                  <c:v>2.6544913994470001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2.645712622694</c:v>
                </c:pt>
                <c:pt idx="108">
                  <c:v>0</c:v>
                </c:pt>
                <c:pt idx="109">
                  <c:v>0</c:v>
                </c:pt>
                <c:pt idx="110">
                  <c:v>2.6377568515730001</c:v>
                </c:pt>
                <c:pt idx="111">
                  <c:v>0</c:v>
                </c:pt>
                <c:pt idx="112">
                  <c:v>2.632202363717</c:v>
                </c:pt>
                <c:pt idx="113">
                  <c:v>0</c:v>
                </c:pt>
                <c:pt idx="114">
                  <c:v>0</c:v>
                </c:pt>
                <c:pt idx="115">
                  <c:v>5.2472779745500002</c:v>
                </c:pt>
                <c:pt idx="116">
                  <c:v>5.2387563192490001</c:v>
                </c:pt>
                <c:pt idx="117">
                  <c:v>0</c:v>
                </c:pt>
                <c:pt idx="118">
                  <c:v>0</c:v>
                </c:pt>
                <c:pt idx="119">
                  <c:v>2.608242044861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1">
                  <c:v>2.5340834220259998</c:v>
                </c:pt>
                <c:pt idx="132">
                  <c:v>0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50">
                  <c:v>2.4591171769329998</c:v>
                </c:pt>
                <c:pt idx="151">
                  <c:v>0</c:v>
                </c:pt>
                <c:pt idx="153">
                  <c:v>2.4503798088700002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4.8605035481670003</c:v>
                </c:pt>
                <c:pt idx="159">
                  <c:v>0</c:v>
                </c:pt>
                <c:pt idx="161">
                  <c:v>4.850836769342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7.2278706692999997</c:v>
                </c:pt>
                <c:pt idx="166">
                  <c:v>0</c:v>
                </c:pt>
                <c:pt idx="167">
                  <c:v>2.4077819512660001</c:v>
                </c:pt>
                <c:pt idx="168">
                  <c:v>0</c:v>
                </c:pt>
                <c:pt idx="169">
                  <c:v>4.8141729250910004</c:v>
                </c:pt>
                <c:pt idx="170">
                  <c:v>2.4037305898749999</c:v>
                </c:pt>
                <c:pt idx="171">
                  <c:v>9.6045333397359993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4.7845745317089996</c:v>
                </c:pt>
                <c:pt idx="176">
                  <c:v>0</c:v>
                </c:pt>
                <c:pt idx="177">
                  <c:v>2.3861792497850001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7.10597375527</c:v>
                </c:pt>
                <c:pt idx="185">
                  <c:v>2.3658559666880001</c:v>
                </c:pt>
                <c:pt idx="186">
                  <c:v>0</c:v>
                </c:pt>
                <c:pt idx="187">
                  <c:v>0</c:v>
                </c:pt>
                <c:pt idx="188">
                  <c:v>4.7246698636930002</c:v>
                </c:pt>
                <c:pt idx="189">
                  <c:v>2.3601604909130001</c:v>
                </c:pt>
                <c:pt idx="190">
                  <c:v>0</c:v>
                </c:pt>
                <c:pt idx="191">
                  <c:v>4.7116471918579999</c:v>
                </c:pt>
                <c:pt idx="192">
                  <c:v>2.3540489642179998</c:v>
                </c:pt>
                <c:pt idx="193">
                  <c:v>2.3513920240780002</c:v>
                </c:pt>
                <c:pt idx="194">
                  <c:v>0</c:v>
                </c:pt>
                <c:pt idx="195">
                  <c:v>0</c:v>
                </c:pt>
                <c:pt idx="196">
                  <c:v>2.3480792711560001</c:v>
                </c:pt>
                <c:pt idx="197">
                  <c:v>0</c:v>
                </c:pt>
                <c:pt idx="198">
                  <c:v>0</c:v>
                </c:pt>
                <c:pt idx="199">
                  <c:v>4.6841698479979996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2.336666978222</c:v>
                </c:pt>
                <c:pt idx="204">
                  <c:v>0</c:v>
                </c:pt>
                <c:pt idx="205">
                  <c:v>2.3323615160340001</c:v>
                </c:pt>
                <c:pt idx="206">
                  <c:v>0</c:v>
                </c:pt>
                <c:pt idx="207">
                  <c:v>2.328397131414</c:v>
                </c:pt>
                <c:pt idx="208">
                  <c:v>2.3274216822599998</c:v>
                </c:pt>
                <c:pt idx="209">
                  <c:v>0</c:v>
                </c:pt>
                <c:pt idx="210">
                  <c:v>0</c:v>
                </c:pt>
                <c:pt idx="211">
                  <c:v>9.2934643711800007</c:v>
                </c:pt>
                <c:pt idx="212">
                  <c:v>6.9649200195010001</c:v>
                </c:pt>
                <c:pt idx="213">
                  <c:v>0</c:v>
                </c:pt>
                <c:pt idx="214">
                  <c:v>2.3163161308250002</c:v>
                </c:pt>
                <c:pt idx="215">
                  <c:v>4.6318812385649997</c:v>
                </c:pt>
                <c:pt idx="216">
                  <c:v>2.3154579975909999</c:v>
                </c:pt>
                <c:pt idx="217">
                  <c:v>0</c:v>
                </c:pt>
                <c:pt idx="218">
                  <c:v>4.624812117007</c:v>
                </c:pt>
                <c:pt idx="219">
                  <c:v>0</c:v>
                </c:pt>
                <c:pt idx="220">
                  <c:v>0</c:v>
                </c:pt>
                <c:pt idx="221">
                  <c:v>6.920894179527</c:v>
                </c:pt>
                <c:pt idx="222">
                  <c:v>4.6129716763530002</c:v>
                </c:pt>
                <c:pt idx="223">
                  <c:v>0</c:v>
                </c:pt>
                <c:pt idx="224">
                  <c:v>9.2193514186269994</c:v>
                </c:pt>
                <c:pt idx="225">
                  <c:v>2.303935121186</c:v>
                </c:pt>
                <c:pt idx="226">
                  <c:v>0</c:v>
                </c:pt>
                <c:pt idx="227">
                  <c:v>2.3022377751169998</c:v>
                </c:pt>
                <c:pt idx="228">
                  <c:v>2.3014430047630001</c:v>
                </c:pt>
                <c:pt idx="229">
                  <c:v>0</c:v>
                </c:pt>
                <c:pt idx="230">
                  <c:v>2.301072299691</c:v>
                </c:pt>
                <c:pt idx="231">
                  <c:v>0</c:v>
                </c:pt>
                <c:pt idx="232">
                  <c:v>4.5993928801389998</c:v>
                </c:pt>
                <c:pt idx="233">
                  <c:v>2.2987448852919998</c:v>
                </c:pt>
                <c:pt idx="234">
                  <c:v>4.5945325063169999</c:v>
                </c:pt>
                <c:pt idx="235">
                  <c:v>4.5927388798299997</c:v>
                </c:pt>
                <c:pt idx="236">
                  <c:v>0</c:v>
                </c:pt>
                <c:pt idx="237">
                  <c:v>2.2961058045549998</c:v>
                </c:pt>
                <c:pt idx="238">
                  <c:v>9.183368918887</c:v>
                </c:pt>
                <c:pt idx="239">
                  <c:v>6.8856296908349996</c:v>
                </c:pt>
                <c:pt idx="240">
                  <c:v>4.5892611289580003</c:v>
                </c:pt>
                <c:pt idx="241">
                  <c:v>18.347361420085001</c:v>
                </c:pt>
                <c:pt idx="242">
                  <c:v>4.584632312488</c:v>
                </c:pt>
                <c:pt idx="243">
                  <c:v>11.461055333975001</c:v>
                </c:pt>
                <c:pt idx="244">
                  <c:v>2.2921585256829999</c:v>
                </c:pt>
                <c:pt idx="245">
                  <c:v>0</c:v>
                </c:pt>
                <c:pt idx="246">
                  <c:v>4.5816915605239998</c:v>
                </c:pt>
                <c:pt idx="247">
                  <c:v>9.1621237802919993</c:v>
                </c:pt>
                <c:pt idx="248">
                  <c:v>11.446100313623001</c:v>
                </c:pt>
                <c:pt idx="249">
                  <c:v>11.439553399835001</c:v>
                </c:pt>
                <c:pt idx="250">
                  <c:v>2.2878059940509998</c:v>
                </c:pt>
                <c:pt idx="251">
                  <c:v>2.28764898314</c:v>
                </c:pt>
                <c:pt idx="252">
                  <c:v>6.8612203823979998</c:v>
                </c:pt>
                <c:pt idx="253">
                  <c:v>16.009514225596</c:v>
                </c:pt>
                <c:pt idx="254">
                  <c:v>13.713972252062</c:v>
                </c:pt>
                <c:pt idx="255">
                  <c:v>9.140141215181</c:v>
                </c:pt>
                <c:pt idx="256">
                  <c:v>11.420740063956</c:v>
                </c:pt>
                <c:pt idx="257">
                  <c:v>11.420740063956</c:v>
                </c:pt>
                <c:pt idx="258">
                  <c:v>13.704888076747</c:v>
                </c:pt>
                <c:pt idx="259">
                  <c:v>29.689855204859999</c:v>
                </c:pt>
                <c:pt idx="260">
                  <c:v>27.396009314642999</c:v>
                </c:pt>
                <c:pt idx="261">
                  <c:v>25.106703489830998</c:v>
                </c:pt>
                <c:pt idx="262">
                  <c:v>22.815423226099998</c:v>
                </c:pt>
                <c:pt idx="263">
                  <c:v>25.091813225666002</c:v>
                </c:pt>
                <c:pt idx="264">
                  <c:v>15.967153284670999</c:v>
                </c:pt>
                <c:pt idx="265">
                  <c:v>18.248175182480999</c:v>
                </c:pt>
                <c:pt idx="266">
                  <c:v>50.158455119582001</c:v>
                </c:pt>
                <c:pt idx="267">
                  <c:v>38.752621500865999</c:v>
                </c:pt>
                <c:pt idx="268">
                  <c:v>38.747321876282001</c:v>
                </c:pt>
                <c:pt idx="269">
                  <c:v>34.181801608823001</c:v>
                </c:pt>
                <c:pt idx="270">
                  <c:v>68.337129840545998</c:v>
                </c:pt>
                <c:pt idx="271">
                  <c:v>34.164673727364999</c:v>
                </c:pt>
                <c:pt idx="272">
                  <c:v>36.44148863481</c:v>
                </c:pt>
                <c:pt idx="273">
                  <c:v>100.186711598888</c:v>
                </c:pt>
                <c:pt idx="274">
                  <c:v>56.920379772773003</c:v>
                </c:pt>
                <c:pt idx="275">
                  <c:v>61.457218947031997</c:v>
                </c:pt>
                <c:pt idx="276">
                  <c:v>45.509363551550003</c:v>
                </c:pt>
                <c:pt idx="277">
                  <c:v>63.676885290638999</c:v>
                </c:pt>
                <c:pt idx="278">
                  <c:v>40.928625025579997</c:v>
                </c:pt>
                <c:pt idx="279">
                  <c:v>34.106412005457003</c:v>
                </c:pt>
                <c:pt idx="280">
                  <c:v>88.644422220200994</c:v>
                </c:pt>
                <c:pt idx="281">
                  <c:v>90.878109735316997</c:v>
                </c:pt>
                <c:pt idx="282">
                  <c:v>81.745725379776999</c:v>
                </c:pt>
                <c:pt idx="283">
                  <c:v>79.469597202670002</c:v>
                </c:pt>
                <c:pt idx="284">
                  <c:v>77.176256951536999</c:v>
                </c:pt>
                <c:pt idx="285">
                  <c:v>83.974489911712993</c:v>
                </c:pt>
                <c:pt idx="286">
                  <c:v>43.119099491648001</c:v>
                </c:pt>
                <c:pt idx="287">
                  <c:v>99.800399201595994</c:v>
                </c:pt>
                <c:pt idx="288">
                  <c:v>90.692665230699006</c:v>
                </c:pt>
                <c:pt idx="289">
                  <c:v>65.728337979646</c:v>
                </c:pt>
                <c:pt idx="290">
                  <c:v>81.551286698078997</c:v>
                </c:pt>
                <c:pt idx="291">
                  <c:v>117.697652837192</c:v>
                </c:pt>
                <c:pt idx="292">
                  <c:v>67.884054035706995</c:v>
                </c:pt>
                <c:pt idx="293">
                  <c:v>42.984480340255999</c:v>
                </c:pt>
                <c:pt idx="294">
                  <c:v>106.28915172211001</c:v>
                </c:pt>
                <c:pt idx="295">
                  <c:v>117.564604010761</c:v>
                </c:pt>
                <c:pt idx="296">
                  <c:v>70.064414058085006</c:v>
                </c:pt>
                <c:pt idx="297">
                  <c:v>94.865945384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4E6-4811-8DF5-DE90F2DCF1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7466795309236889"/>
          <c:h val="0.90552881115878769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31750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00</c:f>
              <c:numCache>
                <c:formatCode>m/d/yyyy</c:formatCode>
                <c:ptCount val="299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</c:numCache>
            </c:numRef>
          </c:cat>
          <c:val>
            <c:numRef>
              <c:f>List1!$B$2:$B$300</c:f>
              <c:numCache>
                <c:formatCode>General</c:formatCode>
                <c:ptCount val="299"/>
                <c:pt idx="0">
                  <c:v>125.28629876866999</c:v>
                </c:pt>
                <c:pt idx="1">
                  <c:v>111.459627941843</c:v>
                </c:pt>
                <c:pt idx="2">
                  <c:v>136.220816927176</c:v>
                </c:pt>
                <c:pt idx="3">
                  <c:v>110.00550027501301</c:v>
                </c:pt>
                <c:pt idx="4">
                  <c:v>110.398538724796</c:v>
                </c:pt>
                <c:pt idx="5">
                  <c:v>54.374093765102998</c:v>
                </c:pt>
                <c:pt idx="6">
                  <c:v>30.294156257257001</c:v>
                </c:pt>
                <c:pt idx="7">
                  <c:v>131.691779982849</c:v>
                </c:pt>
                <c:pt idx="8">
                  <c:v>121.18826648989</c:v>
                </c:pt>
                <c:pt idx="9">
                  <c:v>108.427900709518</c:v>
                </c:pt>
                <c:pt idx="10">
                  <c:v>116.10031927587799</c:v>
                </c:pt>
                <c:pt idx="11">
                  <c:v>112.68103533986501</c:v>
                </c:pt>
                <c:pt idx="12">
                  <c:v>53.152025867318997</c:v>
                </c:pt>
                <c:pt idx="13">
                  <c:v>29.965705914341999</c:v>
                </c:pt>
                <c:pt idx="14">
                  <c:v>141.062977793957</c:v>
                </c:pt>
                <c:pt idx="15">
                  <c:v>138.34501840692101</c:v>
                </c:pt>
                <c:pt idx="16">
                  <c:v>137.39574796316799</c:v>
                </c:pt>
                <c:pt idx="17">
                  <c:v>133.28516797668101</c:v>
                </c:pt>
                <c:pt idx="18">
                  <c:v>157.55898854815101</c:v>
                </c:pt>
                <c:pt idx="19">
                  <c:v>73.294928505296994</c:v>
                </c:pt>
                <c:pt idx="20">
                  <c:v>42.570208594021999</c:v>
                </c:pt>
                <c:pt idx="21">
                  <c:v>162.507101428212</c:v>
                </c:pt>
                <c:pt idx="22">
                  <c:v>205.09499136442099</c:v>
                </c:pt>
                <c:pt idx="23">
                  <c:v>170.70954596767501</c:v>
                </c:pt>
                <c:pt idx="24">
                  <c:v>175.48539259591999</c:v>
                </c:pt>
                <c:pt idx="25">
                  <c:v>195.879384052272</c:v>
                </c:pt>
                <c:pt idx="26">
                  <c:v>103.169599358055</c:v>
                </c:pt>
                <c:pt idx="27">
                  <c:v>50.186406653283001</c:v>
                </c:pt>
                <c:pt idx="28">
                  <c:v>166.874655367559</c:v>
                </c:pt>
                <c:pt idx="29">
                  <c:v>200.68849337142001</c:v>
                </c:pt>
                <c:pt idx="30">
                  <c:v>162.56317796234401</c:v>
                </c:pt>
                <c:pt idx="31">
                  <c:v>162.73271524760699</c:v>
                </c:pt>
                <c:pt idx="32">
                  <c:v>162.60897059487701</c:v>
                </c:pt>
                <c:pt idx="33">
                  <c:v>90.372334016145999</c:v>
                </c:pt>
                <c:pt idx="34">
                  <c:v>55.753959284540997</c:v>
                </c:pt>
                <c:pt idx="35">
                  <c:v>157.645025844689</c:v>
                </c:pt>
                <c:pt idx="36">
                  <c:v>169.463061632646</c:v>
                </c:pt>
                <c:pt idx="37">
                  <c:v>185.73950418297599</c:v>
                </c:pt>
                <c:pt idx="38">
                  <c:v>131.18498626415999</c:v>
                </c:pt>
                <c:pt idx="39">
                  <c:v>161.67143390125599</c:v>
                </c:pt>
                <c:pt idx="40">
                  <c:v>74.624545256676996</c:v>
                </c:pt>
                <c:pt idx="41">
                  <c:v>45.086363707030998</c:v>
                </c:pt>
                <c:pt idx="42">
                  <c:v>154.39078021926599</c:v>
                </c:pt>
                <c:pt idx="43">
                  <c:v>142.46352307595899</c:v>
                </c:pt>
                <c:pt idx="44">
                  <c:v>141.56285390713401</c:v>
                </c:pt>
                <c:pt idx="45">
                  <c:v>127.976237498617</c:v>
                </c:pt>
                <c:pt idx="46">
                  <c:v>119.244467056728</c:v>
                </c:pt>
                <c:pt idx="47">
                  <c:v>44.521473660778</c:v>
                </c:pt>
                <c:pt idx="48">
                  <c:v>34.984495507672001</c:v>
                </c:pt>
                <c:pt idx="49">
                  <c:v>147.07292898935299</c:v>
                </c:pt>
                <c:pt idx="50">
                  <c:v>101.212948831231</c:v>
                </c:pt>
                <c:pt idx="51">
                  <c:v>105.04541193962299</c:v>
                </c:pt>
                <c:pt idx="52">
                  <c:v>75.013861256970998</c:v>
                </c:pt>
                <c:pt idx="53">
                  <c:v>87.316100759484996</c:v>
                </c:pt>
                <c:pt idx="54">
                  <c:v>44.528003166434999</c:v>
                </c:pt>
                <c:pt idx="55">
                  <c:v>23.112989500099001</c:v>
                </c:pt>
                <c:pt idx="56">
                  <c:v>86.548383875370007</c:v>
                </c:pt>
                <c:pt idx="57">
                  <c:v>88.909764976261997</c:v>
                </c:pt>
                <c:pt idx="58">
                  <c:v>57.579298548662003</c:v>
                </c:pt>
                <c:pt idx="59">
                  <c:v>83.912730760008998</c:v>
                </c:pt>
                <c:pt idx="60">
                  <c:v>43.423886611546997</c:v>
                </c:pt>
                <c:pt idx="61">
                  <c:v>36.505867014341</c:v>
                </c:pt>
                <c:pt idx="62">
                  <c:v>39.995131027527002</c:v>
                </c:pt>
                <c:pt idx="63">
                  <c:v>36.880279587643003</c:v>
                </c:pt>
                <c:pt idx="64">
                  <c:v>113.48523805301799</c:v>
                </c:pt>
                <c:pt idx="65">
                  <c:v>85.995306089541998</c:v>
                </c:pt>
                <c:pt idx="66">
                  <c:v>61.695911738554003</c:v>
                </c:pt>
                <c:pt idx="67">
                  <c:v>47.918317698446003</c:v>
                </c:pt>
                <c:pt idx="68">
                  <c:v>22.163120567375</c:v>
                </c:pt>
                <c:pt idx="69">
                  <c:v>14.786610723989</c:v>
                </c:pt>
                <c:pt idx="70">
                  <c:v>35.530621785881003</c:v>
                </c:pt>
                <c:pt idx="71">
                  <c:v>49.246155011742999</c:v>
                </c:pt>
                <c:pt idx="72">
                  <c:v>44.167914890348001</c:v>
                </c:pt>
                <c:pt idx="73">
                  <c:v>37.131131522376002</c:v>
                </c:pt>
                <c:pt idx="74">
                  <c:v>45.212399992136</c:v>
                </c:pt>
                <c:pt idx="75">
                  <c:v>11.830352741684001</c:v>
                </c:pt>
                <c:pt idx="76">
                  <c:v>9.8837669012409997</c:v>
                </c:pt>
                <c:pt idx="77">
                  <c:v>51.500445676932998</c:v>
                </c:pt>
                <c:pt idx="78">
                  <c:v>46.409330293185</c:v>
                </c:pt>
                <c:pt idx="79">
                  <c:v>34.791150768474999</c:v>
                </c:pt>
                <c:pt idx="80">
                  <c:v>24.940765681506001</c:v>
                </c:pt>
                <c:pt idx="81">
                  <c:v>16.913676821919999</c:v>
                </c:pt>
                <c:pt idx="82">
                  <c:v>17.004633762699999</c:v>
                </c:pt>
                <c:pt idx="83">
                  <c:v>6.3935893610669998</c:v>
                </c:pt>
                <c:pt idx="84">
                  <c:v>21.533624755055001</c:v>
                </c:pt>
                <c:pt idx="85">
                  <c:v>21.793139519678999</c:v>
                </c:pt>
                <c:pt idx="86">
                  <c:v>13.234807543840001</c:v>
                </c:pt>
                <c:pt idx="87">
                  <c:v>31.220034342037</c:v>
                </c:pt>
                <c:pt idx="88">
                  <c:v>27.127226693191002</c:v>
                </c:pt>
                <c:pt idx="89">
                  <c:v>6.7964024376429997</c:v>
                </c:pt>
                <c:pt idx="90">
                  <c:v>6.8126078662909997</c:v>
                </c:pt>
                <c:pt idx="91">
                  <c:v>36.623329060610999</c:v>
                </c:pt>
                <c:pt idx="92">
                  <c:v>18.433179723502001</c:v>
                </c:pt>
                <c:pt idx="93">
                  <c:v>16.219848460272001</c:v>
                </c:pt>
                <c:pt idx="94">
                  <c:v>11.664256053748</c:v>
                </c:pt>
                <c:pt idx="95">
                  <c:v>32.836871115279997</c:v>
                </c:pt>
                <c:pt idx="96">
                  <c:v>11.742877944526001</c:v>
                </c:pt>
                <c:pt idx="97">
                  <c:v>7.0588235294109998</c:v>
                </c:pt>
                <c:pt idx="98">
                  <c:v>23.614423689989</c:v>
                </c:pt>
                <c:pt idx="99">
                  <c:v>42.672229861078002</c:v>
                </c:pt>
                <c:pt idx="100">
                  <c:v>9.5294818344250007</c:v>
                </c:pt>
                <c:pt idx="101">
                  <c:v>16.754427955958999</c:v>
                </c:pt>
                <c:pt idx="102">
                  <c:v>14.429667396166</c:v>
                </c:pt>
                <c:pt idx="103">
                  <c:v>0</c:v>
                </c:pt>
                <c:pt idx="104">
                  <c:v>2.4081298463610001</c:v>
                </c:pt>
                <c:pt idx="105">
                  <c:v>9.6536744298289996</c:v>
                </c:pt>
                <c:pt idx="106">
                  <c:v>4.8360576458070001</c:v>
                </c:pt>
                <c:pt idx="107">
                  <c:v>4.8516604807989996</c:v>
                </c:pt>
                <c:pt idx="108">
                  <c:v>9.7413667137490005</c:v>
                </c:pt>
                <c:pt idx="109">
                  <c:v>4.890095112349</c:v>
                </c:pt>
                <c:pt idx="110">
                  <c:v>7.3378338714410001</c:v>
                </c:pt>
                <c:pt idx="111">
                  <c:v>0</c:v>
                </c:pt>
                <c:pt idx="112">
                  <c:v>4.9056881454039996</c:v>
                </c:pt>
                <c:pt idx="113">
                  <c:v>9.831149998771</c:v>
                </c:pt>
                <c:pt idx="114">
                  <c:v>14.803483753176</c:v>
                </c:pt>
                <c:pt idx="115">
                  <c:v>7.4266617155579997</c:v>
                </c:pt>
                <c:pt idx="116">
                  <c:v>4.9709201173129998</c:v>
                </c:pt>
                <c:pt idx="117">
                  <c:v>0</c:v>
                </c:pt>
                <c:pt idx="118">
                  <c:v>0</c:v>
                </c:pt>
                <c:pt idx="119">
                  <c:v>7.51503006012</c:v>
                </c:pt>
                <c:pt idx="120">
                  <c:v>2.5218136884039999</c:v>
                </c:pt>
                <c:pt idx="121">
                  <c:v>0</c:v>
                </c:pt>
                <c:pt idx="122">
                  <c:v>10.250890546116</c:v>
                </c:pt>
                <c:pt idx="123">
                  <c:v>2.5867197806459998</c:v>
                </c:pt>
                <c:pt idx="124">
                  <c:v>0</c:v>
                </c:pt>
                <c:pt idx="125">
                  <c:v>2.5933609958499999</c:v>
                </c:pt>
                <c:pt idx="126">
                  <c:v>2.6118525870389999</c:v>
                </c:pt>
                <c:pt idx="127">
                  <c:v>0</c:v>
                </c:pt>
                <c:pt idx="128">
                  <c:v>2.648936452014</c:v>
                </c:pt>
                <c:pt idx="129">
                  <c:v>2.675298964659</c:v>
                </c:pt>
                <c:pt idx="131">
                  <c:v>2.7140724657340001</c:v>
                </c:pt>
                <c:pt idx="132">
                  <c:v>2.72057023152</c:v>
                </c:pt>
                <c:pt idx="133">
                  <c:v>2.7375509868869998</c:v>
                </c:pt>
                <c:pt idx="135">
                  <c:v>0</c:v>
                </c:pt>
                <c:pt idx="136">
                  <c:v>5.5955012170209999</c:v>
                </c:pt>
                <c:pt idx="137">
                  <c:v>8.4714652811109996</c:v>
                </c:pt>
                <c:pt idx="138">
                  <c:v>0</c:v>
                </c:pt>
                <c:pt idx="139">
                  <c:v>0</c:v>
                </c:pt>
                <c:pt idx="142">
                  <c:v>5.7741721280710001</c:v>
                </c:pt>
                <c:pt idx="143">
                  <c:v>2.907399331298</c:v>
                </c:pt>
                <c:pt idx="145">
                  <c:v>0</c:v>
                </c:pt>
                <c:pt idx="146">
                  <c:v>2.944207272191</c:v>
                </c:pt>
                <c:pt idx="147">
                  <c:v>0</c:v>
                </c:pt>
                <c:pt idx="148">
                  <c:v>5.956813104988</c:v>
                </c:pt>
                <c:pt idx="150">
                  <c:v>3.0177746929409999</c:v>
                </c:pt>
                <c:pt idx="151">
                  <c:v>3.0393289161750001</c:v>
                </c:pt>
                <c:pt idx="153">
                  <c:v>3.051571559353</c:v>
                </c:pt>
                <c:pt idx="154">
                  <c:v>6.1345929697560004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3.1501023783269999</c:v>
                </c:pt>
                <c:pt idx="159">
                  <c:v>3.1545741324919998</c:v>
                </c:pt>
                <c:pt idx="161">
                  <c:v>3.17783144782</c:v>
                </c:pt>
                <c:pt idx="162">
                  <c:v>6.399180904844</c:v>
                </c:pt>
                <c:pt idx="163">
                  <c:v>3.2240384305380001</c:v>
                </c:pt>
                <c:pt idx="164">
                  <c:v>9.746905357548</c:v>
                </c:pt>
                <c:pt idx="165">
                  <c:v>0</c:v>
                </c:pt>
                <c:pt idx="166">
                  <c:v>0</c:v>
                </c:pt>
                <c:pt idx="167">
                  <c:v>6.5588823664440001</c:v>
                </c:pt>
                <c:pt idx="168">
                  <c:v>6.56512605042</c:v>
                </c:pt>
                <c:pt idx="169">
                  <c:v>3.2865547047030002</c:v>
                </c:pt>
                <c:pt idx="170">
                  <c:v>9.9219473475320008</c:v>
                </c:pt>
                <c:pt idx="171">
                  <c:v>0</c:v>
                </c:pt>
                <c:pt idx="172">
                  <c:v>6.687397599224</c:v>
                </c:pt>
                <c:pt idx="173">
                  <c:v>0</c:v>
                </c:pt>
                <c:pt idx="174">
                  <c:v>3.3550291887529999</c:v>
                </c:pt>
                <c:pt idx="175">
                  <c:v>3.373819163292</c:v>
                </c:pt>
                <c:pt idx="176">
                  <c:v>0</c:v>
                </c:pt>
                <c:pt idx="177">
                  <c:v>0</c:v>
                </c:pt>
                <c:pt idx="178">
                  <c:v>6.8678960200540002</c:v>
                </c:pt>
                <c:pt idx="179">
                  <c:v>0</c:v>
                </c:pt>
                <c:pt idx="180">
                  <c:v>3.460447089763</c:v>
                </c:pt>
                <c:pt idx="181">
                  <c:v>0</c:v>
                </c:pt>
                <c:pt idx="182">
                  <c:v>0</c:v>
                </c:pt>
                <c:pt idx="183">
                  <c:v>3.5128394281089999</c:v>
                </c:pt>
                <c:pt idx="184">
                  <c:v>3.5361929346859999</c:v>
                </c:pt>
                <c:pt idx="185">
                  <c:v>0</c:v>
                </c:pt>
                <c:pt idx="186">
                  <c:v>3.5846148331359999</c:v>
                </c:pt>
                <c:pt idx="187">
                  <c:v>0</c:v>
                </c:pt>
                <c:pt idx="188">
                  <c:v>0</c:v>
                </c:pt>
                <c:pt idx="189">
                  <c:v>7.2408674559210002</c:v>
                </c:pt>
                <c:pt idx="190">
                  <c:v>3.642854540818</c:v>
                </c:pt>
                <c:pt idx="191">
                  <c:v>3.663943135602</c:v>
                </c:pt>
                <c:pt idx="192">
                  <c:v>0</c:v>
                </c:pt>
                <c:pt idx="193">
                  <c:v>7.4019245003699998</c:v>
                </c:pt>
                <c:pt idx="194">
                  <c:v>7.4200489723230003</c:v>
                </c:pt>
                <c:pt idx="195">
                  <c:v>0</c:v>
                </c:pt>
                <c:pt idx="196">
                  <c:v>7.4615728995669999</c:v>
                </c:pt>
                <c:pt idx="197">
                  <c:v>7.4993438074160004</c:v>
                </c:pt>
                <c:pt idx="198">
                  <c:v>7.538067239559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11.544677903486001</c:v>
                </c:pt>
                <c:pt idx="204">
                  <c:v>0</c:v>
                </c:pt>
                <c:pt idx="205">
                  <c:v>0</c:v>
                </c:pt>
                <c:pt idx="206">
                  <c:v>3.912363067292</c:v>
                </c:pt>
                <c:pt idx="207">
                  <c:v>0</c:v>
                </c:pt>
                <c:pt idx="208">
                  <c:v>7.88084167389</c:v>
                </c:pt>
                <c:pt idx="209">
                  <c:v>3.94632991318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16.125131016689</c:v>
                </c:pt>
                <c:pt idx="214">
                  <c:v>8.1112868556589994</c:v>
                </c:pt>
                <c:pt idx="215">
                  <c:v>4.0576181781290002</c:v>
                </c:pt>
                <c:pt idx="216">
                  <c:v>0</c:v>
                </c:pt>
                <c:pt idx="217">
                  <c:v>4.0786361040859997</c:v>
                </c:pt>
                <c:pt idx="218">
                  <c:v>12.292059329673</c:v>
                </c:pt>
                <c:pt idx="219">
                  <c:v>0</c:v>
                </c:pt>
                <c:pt idx="220">
                  <c:v>8.2613903920019993</c:v>
                </c:pt>
                <c:pt idx="221">
                  <c:v>0</c:v>
                </c:pt>
                <c:pt idx="222">
                  <c:v>0</c:v>
                </c:pt>
                <c:pt idx="223">
                  <c:v>4.1478286117209997</c:v>
                </c:pt>
                <c:pt idx="224">
                  <c:v>8.3139341536410001</c:v>
                </c:pt>
                <c:pt idx="225">
                  <c:v>12.499479188366999</c:v>
                </c:pt>
                <c:pt idx="226">
                  <c:v>8.3486391718139998</c:v>
                </c:pt>
                <c:pt idx="227">
                  <c:v>8.3664505333610002</c:v>
                </c:pt>
                <c:pt idx="228">
                  <c:v>20.962602716753</c:v>
                </c:pt>
                <c:pt idx="229">
                  <c:v>4.1925205433499997</c:v>
                </c:pt>
                <c:pt idx="230">
                  <c:v>0</c:v>
                </c:pt>
                <c:pt idx="231">
                  <c:v>25.206906692433002</c:v>
                </c:pt>
                <c:pt idx="232">
                  <c:v>21.031378817195002</c:v>
                </c:pt>
                <c:pt idx="233">
                  <c:v>16.849909431735998</c:v>
                </c:pt>
                <c:pt idx="234">
                  <c:v>12.650754828370999</c:v>
                </c:pt>
                <c:pt idx="235">
                  <c:v>12.67534223424</c:v>
                </c:pt>
                <c:pt idx="236">
                  <c:v>16.897600540723001</c:v>
                </c:pt>
                <c:pt idx="237">
                  <c:v>12.670524137348</c:v>
                </c:pt>
                <c:pt idx="238">
                  <c:v>8.4570172100299992</c:v>
                </c:pt>
                <c:pt idx="239">
                  <c:v>16.946280291476</c:v>
                </c:pt>
                <c:pt idx="240">
                  <c:v>33.934252386002001</c:v>
                </c:pt>
                <c:pt idx="241">
                  <c:v>33.993371292596997</c:v>
                </c:pt>
                <c:pt idx="242">
                  <c:v>25.542784163473002</c:v>
                </c:pt>
                <c:pt idx="243">
                  <c:v>12.776287210935999</c:v>
                </c:pt>
                <c:pt idx="244">
                  <c:v>8.5193388993009993</c:v>
                </c:pt>
                <c:pt idx="245">
                  <c:v>17.072129748186001</c:v>
                </c:pt>
                <c:pt idx="246">
                  <c:v>34.199726402187999</c:v>
                </c:pt>
                <c:pt idx="247">
                  <c:v>21.411442274751</c:v>
                </c:pt>
                <c:pt idx="248">
                  <c:v>12.870565017803999</c:v>
                </c:pt>
                <c:pt idx="249">
                  <c:v>12.896569512509</c:v>
                </c:pt>
                <c:pt idx="250">
                  <c:v>12.901006278489</c:v>
                </c:pt>
                <c:pt idx="251">
                  <c:v>8.6021505376339995</c:v>
                </c:pt>
                <c:pt idx="252">
                  <c:v>34.463447206306</c:v>
                </c:pt>
                <c:pt idx="253">
                  <c:v>25.850926324859</c:v>
                </c:pt>
                <c:pt idx="254">
                  <c:v>30.219305819374</c:v>
                </c:pt>
                <c:pt idx="255">
                  <c:v>43.217079389774</c:v>
                </c:pt>
                <c:pt idx="256">
                  <c:v>34.617048896580997</c:v>
                </c:pt>
                <c:pt idx="257">
                  <c:v>17.314518223530001</c:v>
                </c:pt>
                <c:pt idx="258">
                  <c:v>30.306966272676</c:v>
                </c:pt>
                <c:pt idx="259">
                  <c:v>86.707708315269002</c:v>
                </c:pt>
                <c:pt idx="260">
                  <c:v>73.800738007380005</c:v>
                </c:pt>
                <c:pt idx="261">
                  <c:v>56.506998174388997</c:v>
                </c:pt>
                <c:pt idx="262">
                  <c:v>108.82340138423299</c:v>
                </c:pt>
                <c:pt idx="263">
                  <c:v>117.754808321339</c:v>
                </c:pt>
                <c:pt idx="264">
                  <c:v>43.626210627344001</c:v>
                </c:pt>
                <c:pt idx="265">
                  <c:v>26.180294964655999</c:v>
                </c:pt>
                <c:pt idx="266">
                  <c:v>109.227542817196</c:v>
                </c:pt>
                <c:pt idx="267">
                  <c:v>126.842496610243</c:v>
                </c:pt>
                <c:pt idx="268">
                  <c:v>162.031968469454</c:v>
                </c:pt>
                <c:pt idx="269">
                  <c:v>57.020044738804003</c:v>
                </c:pt>
                <c:pt idx="270">
                  <c:v>175.83190469910701</c:v>
                </c:pt>
                <c:pt idx="271">
                  <c:v>136.31167003781499</c:v>
                </c:pt>
                <c:pt idx="272">
                  <c:v>70.366786876594006</c:v>
                </c:pt>
                <c:pt idx="273">
                  <c:v>206.98463029021801</c:v>
                </c:pt>
                <c:pt idx="274">
                  <c:v>215.98272138228899</c:v>
                </c:pt>
                <c:pt idx="275">
                  <c:v>247.186051644228</c:v>
                </c:pt>
                <c:pt idx="276">
                  <c:v>163.629931010083</c:v>
                </c:pt>
                <c:pt idx="277">
                  <c:v>155.19687832564699</c:v>
                </c:pt>
                <c:pt idx="278">
                  <c:v>137.55768548100801</c:v>
                </c:pt>
                <c:pt idx="279">
                  <c:v>39.964476021313999</c:v>
                </c:pt>
                <c:pt idx="280">
                  <c:v>271.37645698015803</c:v>
                </c:pt>
                <c:pt idx="281">
                  <c:v>245.43710116470999</c:v>
                </c:pt>
                <c:pt idx="282">
                  <c:v>313.39541547277901</c:v>
                </c:pt>
                <c:pt idx="283">
                  <c:v>188.23107605431801</c:v>
                </c:pt>
                <c:pt idx="284">
                  <c:v>305.68667116205802</c:v>
                </c:pt>
                <c:pt idx="285">
                  <c:v>198.010890598982</c:v>
                </c:pt>
                <c:pt idx="286">
                  <c:v>81.081081081080995</c:v>
                </c:pt>
                <c:pt idx="287">
                  <c:v>338.92177685390197</c:v>
                </c:pt>
                <c:pt idx="288">
                  <c:v>462.20772158781898</c:v>
                </c:pt>
                <c:pt idx="289">
                  <c:v>209.081405390664</c:v>
                </c:pt>
                <c:pt idx="290">
                  <c:v>310.33223804308102</c:v>
                </c:pt>
                <c:pt idx="291">
                  <c:v>554.84225972120305</c:v>
                </c:pt>
                <c:pt idx="292">
                  <c:v>321.27776757848301</c:v>
                </c:pt>
                <c:pt idx="293">
                  <c:v>119.430408819476</c:v>
                </c:pt>
                <c:pt idx="294">
                  <c:v>382.71775718172103</c:v>
                </c:pt>
                <c:pt idx="295">
                  <c:v>471.54546715362198</c:v>
                </c:pt>
                <c:pt idx="296">
                  <c:v>273.82002134867901</c:v>
                </c:pt>
                <c:pt idx="297">
                  <c:v>391.280044717719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44D-4BF9-82B7-FD2097BC73C3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00</c:f>
              <c:numCache>
                <c:formatCode>m/d/yyyy</c:formatCode>
                <c:ptCount val="299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</c:numCache>
            </c:numRef>
          </c:cat>
          <c:val>
            <c:numRef>
              <c:f>List1!$C$2:$C$300</c:f>
              <c:numCache>
                <c:formatCode>General</c:formatCode>
                <c:ptCount val="29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25.290844714213002</c:v>
                </c:pt>
                <c:pt idx="10">
                  <c:v>10.123506782749001</c:v>
                </c:pt>
                <c:pt idx="11">
                  <c:v>32.312787785765998</c:v>
                </c:pt>
                <c:pt idx="12">
                  <c:v>0</c:v>
                </c:pt>
                <c:pt idx="13">
                  <c:v>0</c:v>
                </c:pt>
                <c:pt idx="14">
                  <c:v>6.669334400426</c:v>
                </c:pt>
                <c:pt idx="15">
                  <c:v>0</c:v>
                </c:pt>
                <c:pt idx="16">
                  <c:v>5.018820577164</c:v>
                </c:pt>
                <c:pt idx="17">
                  <c:v>17.685811557676999</c:v>
                </c:pt>
                <c:pt idx="18">
                  <c:v>12.082158679017001</c:v>
                </c:pt>
                <c:pt idx="19">
                  <c:v>0</c:v>
                </c:pt>
                <c:pt idx="20">
                  <c:v>0</c:v>
                </c:pt>
                <c:pt idx="21">
                  <c:v>18.378974453224998</c:v>
                </c:pt>
                <c:pt idx="22">
                  <c:v>17.372572183037001</c:v>
                </c:pt>
                <c:pt idx="23">
                  <c:v>33.053480531498998</c:v>
                </c:pt>
                <c:pt idx="24">
                  <c:v>12.633839739741999</c:v>
                </c:pt>
                <c:pt idx="25">
                  <c:v>30.349013657055998</c:v>
                </c:pt>
                <c:pt idx="26">
                  <c:v>12.083862002295</c:v>
                </c:pt>
                <c:pt idx="27">
                  <c:v>21.116138763197</c:v>
                </c:pt>
                <c:pt idx="28">
                  <c:v>41.197069122796002</c:v>
                </c:pt>
                <c:pt idx="29">
                  <c:v>17.321516210052</c:v>
                </c:pt>
                <c:pt idx="30">
                  <c:v>22.698255071641</c:v>
                </c:pt>
                <c:pt idx="31">
                  <c:v>19.477989871445001</c:v>
                </c:pt>
                <c:pt idx="32">
                  <c:v>35.607658385603003</c:v>
                </c:pt>
                <c:pt idx="33">
                  <c:v>2.736577089376</c:v>
                </c:pt>
                <c:pt idx="34">
                  <c:v>8.2014270483059999</c:v>
                </c:pt>
                <c:pt idx="35">
                  <c:v>18.929662781577999</c:v>
                </c:pt>
                <c:pt idx="36">
                  <c:v>29.367791542075999</c:v>
                </c:pt>
                <c:pt idx="37">
                  <c:v>2.6441036488630001</c:v>
                </c:pt>
                <c:pt idx="38">
                  <c:v>18.334686607820998</c:v>
                </c:pt>
                <c:pt idx="39">
                  <c:v>23.284091791064</c:v>
                </c:pt>
                <c:pt idx="40">
                  <c:v>12.930923009283999</c:v>
                </c:pt>
                <c:pt idx="41">
                  <c:v>7.7569489334190003</c:v>
                </c:pt>
                <c:pt idx="42">
                  <c:v>25.719503099200001</c:v>
                </c:pt>
                <c:pt idx="43">
                  <c:v>12.775960752248</c:v>
                </c:pt>
                <c:pt idx="44">
                  <c:v>12.676199168441</c:v>
                </c:pt>
                <c:pt idx="45">
                  <c:v>10.066945185483</c:v>
                </c:pt>
                <c:pt idx="46">
                  <c:v>17.439398091630999</c:v>
                </c:pt>
                <c:pt idx="47">
                  <c:v>2.4905359633390001</c:v>
                </c:pt>
                <c:pt idx="48">
                  <c:v>4.9793357566100003</c:v>
                </c:pt>
                <c:pt idx="49">
                  <c:v>17.281817059622</c:v>
                </c:pt>
                <c:pt idx="50">
                  <c:v>12.248597535582</c:v>
                </c:pt>
                <c:pt idx="51">
                  <c:v>19.419361103019</c:v>
                </c:pt>
                <c:pt idx="52">
                  <c:v>11.973180076627999</c:v>
                </c:pt>
                <c:pt idx="53">
                  <c:v>11.79495647661</c:v>
                </c:pt>
                <c:pt idx="54">
                  <c:v>9.4204093167839993</c:v>
                </c:pt>
                <c:pt idx="55">
                  <c:v>9.4044624174169993</c:v>
                </c:pt>
                <c:pt idx="56">
                  <c:v>13.943436127443</c:v>
                </c:pt>
                <c:pt idx="57">
                  <c:v>2.2983222247750001</c:v>
                </c:pt>
                <c:pt idx="58">
                  <c:v>9.0744101633389995</c:v>
                </c:pt>
                <c:pt idx="59">
                  <c:v>4.4694734960220002</c:v>
                </c:pt>
                <c:pt idx="60">
                  <c:v>4.3876006405889996</c:v>
                </c:pt>
                <c:pt idx="61">
                  <c:v>8.7634738410300006</c:v>
                </c:pt>
                <c:pt idx="62">
                  <c:v>2.1893814997260002</c:v>
                </c:pt>
                <c:pt idx="63">
                  <c:v>4.3239503610490004</c:v>
                </c:pt>
                <c:pt idx="64">
                  <c:v>14.952791899858999</c:v>
                </c:pt>
                <c:pt idx="65">
                  <c:v>4.2189642442780002</c:v>
                </c:pt>
                <c:pt idx="66">
                  <c:v>6.2336367036520004</c:v>
                </c:pt>
                <c:pt idx="67">
                  <c:v>4.0824658093480002</c:v>
                </c:pt>
                <c:pt idx="68">
                  <c:v>6.1077405431810003</c:v>
                </c:pt>
                <c:pt idx="69">
                  <c:v>2.0336777027570001</c:v>
                </c:pt>
                <c:pt idx="70">
                  <c:v>12.044806680852</c:v>
                </c:pt>
                <c:pt idx="71">
                  <c:v>3.9599255533990001</c:v>
                </c:pt>
                <c:pt idx="72">
                  <c:v>7.8062489022459998</c:v>
                </c:pt>
                <c:pt idx="73">
                  <c:v>5.7516440115789997</c:v>
                </c:pt>
                <c:pt idx="74">
                  <c:v>3.8116292809360002</c:v>
                </c:pt>
                <c:pt idx="75">
                  <c:v>3.7994642755369998</c:v>
                </c:pt>
                <c:pt idx="76">
                  <c:v>1.8946211704960001</c:v>
                </c:pt>
                <c:pt idx="77">
                  <c:v>3.7809327561099999</c:v>
                </c:pt>
                <c:pt idx="78">
                  <c:v>9.2872931255450002</c:v>
                </c:pt>
                <c:pt idx="79">
                  <c:v>10.999890001099001</c:v>
                </c:pt>
                <c:pt idx="80">
                  <c:v>1.8080567006579999</c:v>
                </c:pt>
                <c:pt idx="81">
                  <c:v>3.562712649411</c:v>
                </c:pt>
                <c:pt idx="82">
                  <c:v>1.7729553392549999</c:v>
                </c:pt>
                <c:pt idx="83">
                  <c:v>1.7686593562070001</c:v>
                </c:pt>
                <c:pt idx="84">
                  <c:v>3.5064957834379999</c:v>
                </c:pt>
                <c:pt idx="85">
                  <c:v>1.7360206933660001</c:v>
                </c:pt>
                <c:pt idx="86">
                  <c:v>0</c:v>
                </c:pt>
                <c:pt idx="87">
                  <c:v>3.4087229219570001</c:v>
                </c:pt>
                <c:pt idx="88">
                  <c:v>6.746158905773</c:v>
                </c:pt>
                <c:pt idx="89">
                  <c:v>3.3672301165060001</c:v>
                </c:pt>
                <c:pt idx="90">
                  <c:v>1.68081351374</c:v>
                </c:pt>
                <c:pt idx="91">
                  <c:v>5.0136203352440001</c:v>
                </c:pt>
                <c:pt idx="92">
                  <c:v>9.9802059249149995</c:v>
                </c:pt>
                <c:pt idx="93">
                  <c:v>6.6273444230890002</c:v>
                </c:pt>
                <c:pt idx="94">
                  <c:v>3.298044259753</c:v>
                </c:pt>
                <c:pt idx="95">
                  <c:v>3.2858527609369999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1.6314012104990001</c:v>
                </c:pt>
                <c:pt idx="100">
                  <c:v>3.252138280919</c:v>
                </c:pt>
                <c:pt idx="101">
                  <c:v>3.2421742020190001</c:v>
                </c:pt>
                <c:pt idx="102">
                  <c:v>1.6160310277950001</c:v>
                </c:pt>
                <c:pt idx="103">
                  <c:v>1.615430593024</c:v>
                </c:pt>
                <c:pt idx="104">
                  <c:v>0</c:v>
                </c:pt>
                <c:pt idx="105">
                  <c:v>4.8380073860239996</c:v>
                </c:pt>
                <c:pt idx="106">
                  <c:v>1.6107728488119999</c:v>
                </c:pt>
                <c:pt idx="107">
                  <c:v>1.607484447587</c:v>
                </c:pt>
                <c:pt idx="108">
                  <c:v>3.2069783849650002</c:v>
                </c:pt>
                <c:pt idx="109">
                  <c:v>1.5994369981759999</c:v>
                </c:pt>
                <c:pt idx="110">
                  <c:v>0</c:v>
                </c:pt>
                <c:pt idx="111">
                  <c:v>0</c:v>
                </c:pt>
                <c:pt idx="112">
                  <c:v>1.5965769390419999</c:v>
                </c:pt>
                <c:pt idx="113">
                  <c:v>3.1892840057399998</c:v>
                </c:pt>
                <c:pt idx="114">
                  <c:v>0</c:v>
                </c:pt>
                <c:pt idx="115">
                  <c:v>0</c:v>
                </c:pt>
                <c:pt idx="116">
                  <c:v>1.583631583948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1.554339716488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1.5304560759100001</c:v>
                </c:pt>
                <c:pt idx="128">
                  <c:v>0</c:v>
                </c:pt>
                <c:pt idx="129">
                  <c:v>0</c:v>
                </c:pt>
                <c:pt idx="131">
                  <c:v>0</c:v>
                </c:pt>
                <c:pt idx="132">
                  <c:v>1.5018623092629999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1.470891065807</c:v>
                </c:pt>
                <c:pt idx="139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1.4377938491169999</c:v>
                </c:pt>
                <c:pt idx="148">
                  <c:v>0</c:v>
                </c:pt>
                <c:pt idx="150">
                  <c:v>0</c:v>
                </c:pt>
                <c:pt idx="151">
                  <c:v>1.419728547901</c:v>
                </c:pt>
                <c:pt idx="153">
                  <c:v>0</c:v>
                </c:pt>
                <c:pt idx="154">
                  <c:v>2.8257368108729999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1">
                  <c:v>1.388696014442</c:v>
                </c:pt>
                <c:pt idx="162">
                  <c:v>1.3843129654749999</c:v>
                </c:pt>
                <c:pt idx="163">
                  <c:v>2.7590393025140001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4.1033497011389999</c:v>
                </c:pt>
                <c:pt idx="169">
                  <c:v>0</c:v>
                </c:pt>
                <c:pt idx="170">
                  <c:v>1.3630106178520001</c:v>
                </c:pt>
                <c:pt idx="171">
                  <c:v>0</c:v>
                </c:pt>
                <c:pt idx="172">
                  <c:v>2.7128207910579998</c:v>
                </c:pt>
                <c:pt idx="173">
                  <c:v>1.3550686342260001</c:v>
                </c:pt>
                <c:pt idx="174">
                  <c:v>0</c:v>
                </c:pt>
                <c:pt idx="175">
                  <c:v>2.7014979806300001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1.337220186675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1.3287270794570001</c:v>
                </c:pt>
                <c:pt idx="184">
                  <c:v>0</c:v>
                </c:pt>
                <c:pt idx="185">
                  <c:v>1.3218595920739999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1.3116302252059999</c:v>
                </c:pt>
                <c:pt idx="191">
                  <c:v>1.309003324868</c:v>
                </c:pt>
                <c:pt idx="192">
                  <c:v>1.3067454198570001</c:v>
                </c:pt>
                <c:pt idx="193">
                  <c:v>0</c:v>
                </c:pt>
                <c:pt idx="194">
                  <c:v>1.3034750645219999</c:v>
                </c:pt>
                <c:pt idx="195">
                  <c:v>1.3027448834690001</c:v>
                </c:pt>
                <c:pt idx="196">
                  <c:v>1.3011176600700001</c:v>
                </c:pt>
                <c:pt idx="197">
                  <c:v>1.298920596983</c:v>
                </c:pt>
                <c:pt idx="198">
                  <c:v>0</c:v>
                </c:pt>
                <c:pt idx="199">
                  <c:v>1.2946995002449999</c:v>
                </c:pt>
                <c:pt idx="200">
                  <c:v>0</c:v>
                </c:pt>
                <c:pt idx="201">
                  <c:v>0</c:v>
                </c:pt>
                <c:pt idx="202">
                  <c:v>1.290722288192</c:v>
                </c:pt>
                <c:pt idx="203">
                  <c:v>2.5759917568259998</c:v>
                </c:pt>
                <c:pt idx="204">
                  <c:v>2.5720826152930001</c:v>
                </c:pt>
                <c:pt idx="205">
                  <c:v>0</c:v>
                </c:pt>
                <c:pt idx="206">
                  <c:v>1.281213565489</c:v>
                </c:pt>
                <c:pt idx="207">
                  <c:v>1.278870501573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2.5476733373239999</c:v>
                </c:pt>
                <c:pt idx="212">
                  <c:v>1.2714073207629999</c:v>
                </c:pt>
                <c:pt idx="213">
                  <c:v>2.538006649577</c:v>
                </c:pt>
                <c:pt idx="214">
                  <c:v>5.0657278184440004</c:v>
                </c:pt>
                <c:pt idx="215">
                  <c:v>0</c:v>
                </c:pt>
                <c:pt idx="216">
                  <c:v>1.265614519129</c:v>
                </c:pt>
                <c:pt idx="217">
                  <c:v>1.26366336008</c:v>
                </c:pt>
                <c:pt idx="218">
                  <c:v>3.7850591100059998</c:v>
                </c:pt>
                <c:pt idx="219">
                  <c:v>1.2599853841690001</c:v>
                </c:pt>
                <c:pt idx="220">
                  <c:v>2.5164196381380002</c:v>
                </c:pt>
                <c:pt idx="221">
                  <c:v>0</c:v>
                </c:pt>
                <c:pt idx="222">
                  <c:v>1.2564392511619999</c:v>
                </c:pt>
                <c:pt idx="223">
                  <c:v>1.2560920464250001</c:v>
                </c:pt>
                <c:pt idx="224">
                  <c:v>1.2550830865</c:v>
                </c:pt>
                <c:pt idx="225">
                  <c:v>2.508057133541</c:v>
                </c:pt>
                <c:pt idx="226">
                  <c:v>1.2531485356950001</c:v>
                </c:pt>
                <c:pt idx="227">
                  <c:v>7.5130539312050004</c:v>
                </c:pt>
                <c:pt idx="228">
                  <c:v>1.251172974663</c:v>
                </c:pt>
                <c:pt idx="229">
                  <c:v>1.2509851508059999</c:v>
                </c:pt>
                <c:pt idx="230">
                  <c:v>2.5018138150150002</c:v>
                </c:pt>
                <c:pt idx="231">
                  <c:v>4.9995000499950004</c:v>
                </c:pt>
                <c:pt idx="232">
                  <c:v>2.4984696873160002</c:v>
                </c:pt>
                <c:pt idx="233">
                  <c:v>2.497034771209</c:v>
                </c:pt>
                <c:pt idx="234">
                  <c:v>2.495912942556</c:v>
                </c:pt>
                <c:pt idx="235">
                  <c:v>4.9882775477620003</c:v>
                </c:pt>
                <c:pt idx="236">
                  <c:v>3.740834954361</c:v>
                </c:pt>
                <c:pt idx="237">
                  <c:v>3.7405550983759999</c:v>
                </c:pt>
                <c:pt idx="238">
                  <c:v>3.7387370546219998</c:v>
                </c:pt>
                <c:pt idx="239">
                  <c:v>6.226805150813</c:v>
                </c:pt>
                <c:pt idx="240">
                  <c:v>4.9789638776169998</c:v>
                </c:pt>
                <c:pt idx="241">
                  <c:v>9.9514865032959996</c:v>
                </c:pt>
                <c:pt idx="242">
                  <c:v>2.4862015812239999</c:v>
                </c:pt>
                <c:pt idx="243">
                  <c:v>2.485954357877</c:v>
                </c:pt>
                <c:pt idx="244">
                  <c:v>7.457492293924</c:v>
                </c:pt>
                <c:pt idx="245">
                  <c:v>7.4534161490680004</c:v>
                </c:pt>
                <c:pt idx="246">
                  <c:v>6.2083266076459998</c:v>
                </c:pt>
                <c:pt idx="247">
                  <c:v>4.9642573471000002</c:v>
                </c:pt>
                <c:pt idx="248">
                  <c:v>6.2021657962959997</c:v>
                </c:pt>
                <c:pt idx="249">
                  <c:v>7.438354635954</c:v>
                </c:pt>
                <c:pt idx="250">
                  <c:v>2.4792363951900001</c:v>
                </c:pt>
                <c:pt idx="251">
                  <c:v>2.479144199422</c:v>
                </c:pt>
                <c:pt idx="252">
                  <c:v>12.39034544283</c:v>
                </c:pt>
                <c:pt idx="253">
                  <c:v>16.107049931854</c:v>
                </c:pt>
                <c:pt idx="254">
                  <c:v>18.574701256888002</c:v>
                </c:pt>
                <c:pt idx="255">
                  <c:v>11.141647478273001</c:v>
                </c:pt>
                <c:pt idx="256">
                  <c:v>11.13778679801</c:v>
                </c:pt>
                <c:pt idx="257">
                  <c:v>7.4245480306380003</c:v>
                </c:pt>
                <c:pt idx="258">
                  <c:v>3.7120902780349998</c:v>
                </c:pt>
                <c:pt idx="259">
                  <c:v>18.553793632337999</c:v>
                </c:pt>
                <c:pt idx="260">
                  <c:v>14.837529056827</c:v>
                </c:pt>
                <c:pt idx="261">
                  <c:v>16.068426777414999</c:v>
                </c:pt>
                <c:pt idx="262">
                  <c:v>33.360103786989001</c:v>
                </c:pt>
                <c:pt idx="263">
                  <c:v>19.758452913136001</c:v>
                </c:pt>
                <c:pt idx="264">
                  <c:v>29.635483552305999</c:v>
                </c:pt>
                <c:pt idx="265">
                  <c:v>6.1738303678359996</c:v>
                </c:pt>
                <c:pt idx="266">
                  <c:v>50.607912115040001</c:v>
                </c:pt>
                <c:pt idx="267">
                  <c:v>48.124976862990998</c:v>
                </c:pt>
                <c:pt idx="268">
                  <c:v>49.342511040386</c:v>
                </c:pt>
                <c:pt idx="269">
                  <c:v>25.893958076448001</c:v>
                </c:pt>
                <c:pt idx="270">
                  <c:v>50.524344107752</c:v>
                </c:pt>
                <c:pt idx="271">
                  <c:v>39.430718994515999</c:v>
                </c:pt>
                <c:pt idx="272">
                  <c:v>25.875452820424002</c:v>
                </c:pt>
                <c:pt idx="273">
                  <c:v>78.834238695292996</c:v>
                </c:pt>
                <c:pt idx="274">
                  <c:v>67.736492727563004</c:v>
                </c:pt>
                <c:pt idx="275">
                  <c:v>76.332118585638995</c:v>
                </c:pt>
                <c:pt idx="276">
                  <c:v>79.98917069689</c:v>
                </c:pt>
                <c:pt idx="277">
                  <c:v>94.693475988439999</c:v>
                </c:pt>
                <c:pt idx="278">
                  <c:v>63.940191328726002</c:v>
                </c:pt>
                <c:pt idx="279">
                  <c:v>23.359889839676999</c:v>
                </c:pt>
                <c:pt idx="280">
                  <c:v>89.711448655557007</c:v>
                </c:pt>
                <c:pt idx="281">
                  <c:v>111.74419175794399</c:v>
                </c:pt>
                <c:pt idx="282">
                  <c:v>119.014024023655</c:v>
                </c:pt>
                <c:pt idx="283">
                  <c:v>65.014720314032999</c:v>
                </c:pt>
                <c:pt idx="284">
                  <c:v>115.22008261525001</c:v>
                </c:pt>
                <c:pt idx="285">
                  <c:v>63.724709256014002</c:v>
                </c:pt>
                <c:pt idx="286">
                  <c:v>44.108998235640001</c:v>
                </c:pt>
                <c:pt idx="287">
                  <c:v>102.83783452902701</c:v>
                </c:pt>
                <c:pt idx="288">
                  <c:v>155.376390129317</c:v>
                </c:pt>
                <c:pt idx="289">
                  <c:v>90.465653614347005</c:v>
                </c:pt>
                <c:pt idx="290">
                  <c:v>122.126963190933</c:v>
                </c:pt>
                <c:pt idx="291">
                  <c:v>137.838497194437</c:v>
                </c:pt>
                <c:pt idx="292">
                  <c:v>100.0060979328</c:v>
                </c:pt>
                <c:pt idx="293">
                  <c:v>70.725669759897997</c:v>
                </c:pt>
                <c:pt idx="294">
                  <c:v>132.79079966863199</c:v>
                </c:pt>
                <c:pt idx="295">
                  <c:v>169.23357886406501</c:v>
                </c:pt>
                <c:pt idx="296">
                  <c:v>90.010095726952997</c:v>
                </c:pt>
                <c:pt idx="297">
                  <c:v>137.3259120628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44D-4BF9-82B7-FD2097BC73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7466795309236889"/>
          <c:h val="0.90552881115878769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31750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00</c:f>
              <c:numCache>
                <c:formatCode>m/d/yyyy</c:formatCode>
                <c:ptCount val="299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</c:numCache>
            </c:numRef>
          </c:cat>
          <c:val>
            <c:numRef>
              <c:f>List1!$B$2:$B$300</c:f>
              <c:numCache>
                <c:formatCode>General</c:formatCode>
                <c:ptCount val="299"/>
                <c:pt idx="0">
                  <c:v>109.995425932782</c:v>
                </c:pt>
                <c:pt idx="1">
                  <c:v>141.25221733131801</c:v>
                </c:pt>
                <c:pt idx="2">
                  <c:v>146.38226683395999</c:v>
                </c:pt>
                <c:pt idx="3">
                  <c:v>86.123133998762995</c:v>
                </c:pt>
                <c:pt idx="4">
                  <c:v>111.75409672814899</c:v>
                </c:pt>
                <c:pt idx="5">
                  <c:v>51.000044347863998</c:v>
                </c:pt>
                <c:pt idx="6">
                  <c:v>42.218938527002997</c:v>
                </c:pt>
                <c:pt idx="7">
                  <c:v>138.64042933810299</c:v>
                </c:pt>
                <c:pt idx="8">
                  <c:v>163.77703732986899</c:v>
                </c:pt>
                <c:pt idx="9">
                  <c:v>146.602375416614</c:v>
                </c:pt>
                <c:pt idx="10">
                  <c:v>112.853685778108</c:v>
                </c:pt>
                <c:pt idx="11">
                  <c:v>118.59301249970299</c:v>
                </c:pt>
                <c:pt idx="12">
                  <c:v>60.624071322436002</c:v>
                </c:pt>
                <c:pt idx="13">
                  <c:v>25.024428608880001</c:v>
                </c:pt>
                <c:pt idx="14">
                  <c:v>143.20040775709299</c:v>
                </c:pt>
                <c:pt idx="15">
                  <c:v>144.171016654238</c:v>
                </c:pt>
                <c:pt idx="16">
                  <c:v>160.54023061731499</c:v>
                </c:pt>
                <c:pt idx="17">
                  <c:v>159.23774717744499</c:v>
                </c:pt>
                <c:pt idx="18">
                  <c:v>139.64251516118699</c:v>
                </c:pt>
                <c:pt idx="19">
                  <c:v>73.299127074032</c:v>
                </c:pt>
                <c:pt idx="20">
                  <c:v>40.084444563212998</c:v>
                </c:pt>
                <c:pt idx="21">
                  <c:v>158.95443306252201</c:v>
                </c:pt>
                <c:pt idx="22">
                  <c:v>198.45371480547399</c:v>
                </c:pt>
                <c:pt idx="23">
                  <c:v>187.24498351126201</c:v>
                </c:pt>
                <c:pt idx="24">
                  <c:v>195.138505917787</c:v>
                </c:pt>
                <c:pt idx="25">
                  <c:v>190.23371570786901</c:v>
                </c:pt>
                <c:pt idx="26">
                  <c:v>103.113453441411</c:v>
                </c:pt>
                <c:pt idx="27">
                  <c:v>41.549063713339997</c:v>
                </c:pt>
                <c:pt idx="28">
                  <c:v>210.87600202209799</c:v>
                </c:pt>
                <c:pt idx="29">
                  <c:v>225.36603806504999</c:v>
                </c:pt>
                <c:pt idx="30">
                  <c:v>222.079364151715</c:v>
                </c:pt>
                <c:pt idx="31">
                  <c:v>207.17927619495401</c:v>
                </c:pt>
                <c:pt idx="32">
                  <c:v>181.70000295447099</c:v>
                </c:pt>
                <c:pt idx="33">
                  <c:v>87.164637749674</c:v>
                </c:pt>
                <c:pt idx="34">
                  <c:v>38.410400354556998</c:v>
                </c:pt>
                <c:pt idx="35">
                  <c:v>154.24088273243601</c:v>
                </c:pt>
                <c:pt idx="36">
                  <c:v>196.57483246463099</c:v>
                </c:pt>
                <c:pt idx="37">
                  <c:v>176.33521623479399</c:v>
                </c:pt>
                <c:pt idx="38">
                  <c:v>147.09855603254101</c:v>
                </c:pt>
                <c:pt idx="39">
                  <c:v>180.856354840168</c:v>
                </c:pt>
                <c:pt idx="40">
                  <c:v>87.409952678059994</c:v>
                </c:pt>
                <c:pt idx="41">
                  <c:v>42.201088185202003</c:v>
                </c:pt>
                <c:pt idx="42">
                  <c:v>139.05262839696499</c:v>
                </c:pt>
                <c:pt idx="43">
                  <c:v>175.842832888673</c:v>
                </c:pt>
                <c:pt idx="44">
                  <c:v>138.41988378814099</c:v>
                </c:pt>
                <c:pt idx="45">
                  <c:v>118.95139767892201</c:v>
                </c:pt>
                <c:pt idx="46">
                  <c:v>99.491826363803</c:v>
                </c:pt>
                <c:pt idx="47">
                  <c:v>38.260230785711997</c:v>
                </c:pt>
                <c:pt idx="48">
                  <c:v>24.486922452977002</c:v>
                </c:pt>
                <c:pt idx="49">
                  <c:v>121.428242057209</c:v>
                </c:pt>
                <c:pt idx="50">
                  <c:v>106.52422268194</c:v>
                </c:pt>
                <c:pt idx="51">
                  <c:v>89.958743059216999</c:v>
                </c:pt>
                <c:pt idx="52">
                  <c:v>96.859865645992002</c:v>
                </c:pt>
                <c:pt idx="53">
                  <c:v>88.179255830065003</c:v>
                </c:pt>
                <c:pt idx="54">
                  <c:v>28.364323983611001</c:v>
                </c:pt>
                <c:pt idx="55">
                  <c:v>9.4644688066880001</c:v>
                </c:pt>
                <c:pt idx="56">
                  <c:v>98.711968030058998</c:v>
                </c:pt>
                <c:pt idx="57">
                  <c:v>115.701682495299</c:v>
                </c:pt>
                <c:pt idx="58">
                  <c:v>91.009556003379998</c:v>
                </c:pt>
                <c:pt idx="59">
                  <c:v>50.903955729979003</c:v>
                </c:pt>
                <c:pt idx="60">
                  <c:v>29.970528979836001</c:v>
                </c:pt>
                <c:pt idx="61">
                  <c:v>13.341338136215001</c:v>
                </c:pt>
                <c:pt idx="62">
                  <c:v>26.709401709401</c:v>
                </c:pt>
                <c:pt idx="63">
                  <c:v>15.209125475284999</c:v>
                </c:pt>
                <c:pt idx="64">
                  <c:v>80.461541095304</c:v>
                </c:pt>
                <c:pt idx="65">
                  <c:v>67.678958785248994</c:v>
                </c:pt>
                <c:pt idx="66">
                  <c:v>73.870831574503995</c:v>
                </c:pt>
                <c:pt idx="67">
                  <c:v>59.060402684563002</c:v>
                </c:pt>
                <c:pt idx="68">
                  <c:v>23.318803924733999</c:v>
                </c:pt>
                <c:pt idx="69">
                  <c:v>7.1815864124379996</c:v>
                </c:pt>
                <c:pt idx="70">
                  <c:v>47.308854033989</c:v>
                </c:pt>
                <c:pt idx="71">
                  <c:v>55.304636372014997</c:v>
                </c:pt>
                <c:pt idx="72">
                  <c:v>44.908498933422997</c:v>
                </c:pt>
                <c:pt idx="73">
                  <c:v>30.480254510125</c:v>
                </c:pt>
                <c:pt idx="74">
                  <c:v>36.406836820724997</c:v>
                </c:pt>
                <c:pt idx="75">
                  <c:v>13.462832964707999</c:v>
                </c:pt>
                <c:pt idx="76">
                  <c:v>7.7117353332430003</c:v>
                </c:pt>
                <c:pt idx="77">
                  <c:v>44.435857805254997</c:v>
                </c:pt>
                <c:pt idx="78">
                  <c:v>43.249193992293002</c:v>
                </c:pt>
                <c:pt idx="79">
                  <c:v>51.730998806206998</c:v>
                </c:pt>
                <c:pt idx="80">
                  <c:v>20.198755756644999</c:v>
                </c:pt>
                <c:pt idx="81">
                  <c:v>28.787629544331999</c:v>
                </c:pt>
                <c:pt idx="82">
                  <c:v>8.2843177864299999</c:v>
                </c:pt>
                <c:pt idx="83">
                  <c:v>4.15489446568</c:v>
                </c:pt>
                <c:pt idx="84">
                  <c:v>25.157232704401999</c:v>
                </c:pt>
                <c:pt idx="85">
                  <c:v>33.920583434035002</c:v>
                </c:pt>
                <c:pt idx="86">
                  <c:v>23.594011410920999</c:v>
                </c:pt>
                <c:pt idx="87">
                  <c:v>41.194198122411002</c:v>
                </c:pt>
                <c:pt idx="88">
                  <c:v>35.147840604541997</c:v>
                </c:pt>
                <c:pt idx="89">
                  <c:v>13.207422571485001</c:v>
                </c:pt>
                <c:pt idx="90">
                  <c:v>8.823399655887</c:v>
                </c:pt>
                <c:pt idx="91">
                  <c:v>22.199529369977</c:v>
                </c:pt>
                <c:pt idx="92">
                  <c:v>31.277926720284999</c:v>
                </c:pt>
                <c:pt idx="93">
                  <c:v>26.972353337828</c:v>
                </c:pt>
                <c:pt idx="94">
                  <c:v>29.389157661527001</c:v>
                </c:pt>
                <c:pt idx="95">
                  <c:v>29.568302779420002</c:v>
                </c:pt>
                <c:pt idx="96">
                  <c:v>9.1157702825880005</c:v>
                </c:pt>
                <c:pt idx="97">
                  <c:v>4.5649593718609998</c:v>
                </c:pt>
                <c:pt idx="98">
                  <c:v>16.026374834012</c:v>
                </c:pt>
                <c:pt idx="99">
                  <c:v>29.895366218235999</c:v>
                </c:pt>
                <c:pt idx="100">
                  <c:v>11.560426348523</c:v>
                </c:pt>
                <c:pt idx="101">
                  <c:v>23.217478117525999</c:v>
                </c:pt>
                <c:pt idx="102">
                  <c:v>18.641500640800999</c:v>
                </c:pt>
                <c:pt idx="103">
                  <c:v>11.659088259298001</c:v>
                </c:pt>
                <c:pt idx="104">
                  <c:v>4.6675535018319998</c:v>
                </c:pt>
                <c:pt idx="105">
                  <c:v>9.3551933016810001</c:v>
                </c:pt>
                <c:pt idx="106">
                  <c:v>11.717834544176</c:v>
                </c:pt>
                <c:pt idx="107">
                  <c:v>4.6980338728240003</c:v>
                </c:pt>
                <c:pt idx="108">
                  <c:v>14.130281192595</c:v>
                </c:pt>
                <c:pt idx="109">
                  <c:v>9.4524659120439996</c:v>
                </c:pt>
                <c:pt idx="110">
                  <c:v>2.364233870014</c:v>
                </c:pt>
                <c:pt idx="111">
                  <c:v>0</c:v>
                </c:pt>
                <c:pt idx="112">
                  <c:v>9.4838419043549997</c:v>
                </c:pt>
                <c:pt idx="113">
                  <c:v>0</c:v>
                </c:pt>
                <c:pt idx="114">
                  <c:v>9.5335700836570005</c:v>
                </c:pt>
                <c:pt idx="115">
                  <c:v>0</c:v>
                </c:pt>
                <c:pt idx="116">
                  <c:v>2.3994049475730002</c:v>
                </c:pt>
                <c:pt idx="117">
                  <c:v>2.4124870328819998</c:v>
                </c:pt>
                <c:pt idx="118">
                  <c:v>0</c:v>
                </c:pt>
                <c:pt idx="119">
                  <c:v>2.4238311074480001</c:v>
                </c:pt>
                <c:pt idx="120">
                  <c:v>2.442121715346</c:v>
                </c:pt>
                <c:pt idx="121">
                  <c:v>2.4573043371419998</c:v>
                </c:pt>
                <c:pt idx="122">
                  <c:v>2.4819438584290001</c:v>
                </c:pt>
                <c:pt idx="123">
                  <c:v>5.0028766540760001</c:v>
                </c:pt>
                <c:pt idx="124">
                  <c:v>2.5069568051340001</c:v>
                </c:pt>
                <c:pt idx="125">
                  <c:v>0</c:v>
                </c:pt>
                <c:pt idx="126">
                  <c:v>2.5283171521029999</c:v>
                </c:pt>
                <c:pt idx="127">
                  <c:v>2.5464082911050001</c:v>
                </c:pt>
                <c:pt idx="128">
                  <c:v>5.1293888333200002</c:v>
                </c:pt>
                <c:pt idx="129">
                  <c:v>2.5871882438160001</c:v>
                </c:pt>
                <c:pt idx="131">
                  <c:v>2.6219192448870001</c:v>
                </c:pt>
                <c:pt idx="132">
                  <c:v>0</c:v>
                </c:pt>
                <c:pt idx="133">
                  <c:v>0</c:v>
                </c:pt>
                <c:pt idx="135">
                  <c:v>2.6834111522559998</c:v>
                </c:pt>
                <c:pt idx="136">
                  <c:v>2.7035795393100002</c:v>
                </c:pt>
                <c:pt idx="137">
                  <c:v>0</c:v>
                </c:pt>
                <c:pt idx="138">
                  <c:v>2.7378507871319999</c:v>
                </c:pt>
                <c:pt idx="139">
                  <c:v>2.742882220637</c:v>
                </c:pt>
                <c:pt idx="142">
                  <c:v>5.5806685640930001</c:v>
                </c:pt>
                <c:pt idx="143">
                  <c:v>5.6187666807129997</c:v>
                </c:pt>
                <c:pt idx="145">
                  <c:v>2.843817540666</c:v>
                </c:pt>
                <c:pt idx="146">
                  <c:v>5.698168038975</c:v>
                </c:pt>
                <c:pt idx="147">
                  <c:v>0</c:v>
                </c:pt>
                <c:pt idx="148">
                  <c:v>2.8856697639519999</c:v>
                </c:pt>
                <c:pt idx="150">
                  <c:v>0</c:v>
                </c:pt>
                <c:pt idx="151">
                  <c:v>2.9500265502379999</c:v>
                </c:pt>
                <c:pt idx="153">
                  <c:v>0</c:v>
                </c:pt>
                <c:pt idx="154">
                  <c:v>0</c:v>
                </c:pt>
                <c:pt idx="155">
                  <c:v>3.0040855563559998</c:v>
                </c:pt>
                <c:pt idx="156">
                  <c:v>0</c:v>
                </c:pt>
                <c:pt idx="157">
                  <c:v>3.0491523356500001</c:v>
                </c:pt>
                <c:pt idx="158">
                  <c:v>12.306934957848</c:v>
                </c:pt>
                <c:pt idx="159">
                  <c:v>0</c:v>
                </c:pt>
                <c:pt idx="161">
                  <c:v>3.1120654778570001</c:v>
                </c:pt>
                <c:pt idx="162">
                  <c:v>0</c:v>
                </c:pt>
                <c:pt idx="163">
                  <c:v>6.3167203587890004</c:v>
                </c:pt>
                <c:pt idx="164">
                  <c:v>3.1851191234549998</c:v>
                </c:pt>
                <c:pt idx="165">
                  <c:v>9.6348395799199995</c:v>
                </c:pt>
                <c:pt idx="166">
                  <c:v>3.2198860160349998</c:v>
                </c:pt>
                <c:pt idx="167">
                  <c:v>3.2249742002059998</c:v>
                </c:pt>
                <c:pt idx="168">
                  <c:v>6.460783046905</c:v>
                </c:pt>
                <c:pt idx="169">
                  <c:v>6.4733298808899997</c:v>
                </c:pt>
                <c:pt idx="170">
                  <c:v>3.2599837000809999</c:v>
                </c:pt>
                <c:pt idx="171">
                  <c:v>6.5653415618939999</c:v>
                </c:pt>
                <c:pt idx="172">
                  <c:v>3.3056758454259998</c:v>
                </c:pt>
                <c:pt idx="173">
                  <c:v>0</c:v>
                </c:pt>
                <c:pt idx="174">
                  <c:v>3.3195020746880002</c:v>
                </c:pt>
                <c:pt idx="175">
                  <c:v>6.6793574458130003</c:v>
                </c:pt>
                <c:pt idx="176">
                  <c:v>3.358522250209</c:v>
                </c:pt>
                <c:pt idx="177">
                  <c:v>0</c:v>
                </c:pt>
                <c:pt idx="178">
                  <c:v>10.221813349688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3.5103731526659998</c:v>
                </c:pt>
                <c:pt idx="184">
                  <c:v>7.0761392584199996</c:v>
                </c:pt>
                <c:pt idx="185">
                  <c:v>0</c:v>
                </c:pt>
                <c:pt idx="186">
                  <c:v>7.1872641678939999</c:v>
                </c:pt>
                <c:pt idx="187">
                  <c:v>3.608024245922</c:v>
                </c:pt>
                <c:pt idx="188">
                  <c:v>0</c:v>
                </c:pt>
                <c:pt idx="189">
                  <c:v>21.840419336050999</c:v>
                </c:pt>
                <c:pt idx="190">
                  <c:v>0</c:v>
                </c:pt>
                <c:pt idx="191">
                  <c:v>0</c:v>
                </c:pt>
                <c:pt idx="192">
                  <c:v>7.4330099973979999</c:v>
                </c:pt>
                <c:pt idx="193">
                  <c:v>14.961101137043</c:v>
                </c:pt>
                <c:pt idx="194">
                  <c:v>7.4996250187489997</c:v>
                </c:pt>
                <c:pt idx="195">
                  <c:v>3.7593984962400002</c:v>
                </c:pt>
                <c:pt idx="196">
                  <c:v>0</c:v>
                </c:pt>
                <c:pt idx="197">
                  <c:v>3.8021368008819998</c:v>
                </c:pt>
                <c:pt idx="198">
                  <c:v>3.8255547054319998</c:v>
                </c:pt>
                <c:pt idx="199">
                  <c:v>0</c:v>
                </c:pt>
                <c:pt idx="200">
                  <c:v>7.7519379844960001</c:v>
                </c:pt>
                <c:pt idx="201">
                  <c:v>3.8884784383870001</c:v>
                </c:pt>
                <c:pt idx="202">
                  <c:v>3.8974199080199998</c:v>
                </c:pt>
                <c:pt idx="203">
                  <c:v>0</c:v>
                </c:pt>
                <c:pt idx="204">
                  <c:v>7.9060758192670004</c:v>
                </c:pt>
                <c:pt idx="205">
                  <c:v>7.9624173899189996</c:v>
                </c:pt>
                <c:pt idx="206">
                  <c:v>8.0073667774349992</c:v>
                </c:pt>
                <c:pt idx="207">
                  <c:v>4.0353496630479997</c:v>
                </c:pt>
                <c:pt idx="208">
                  <c:v>0</c:v>
                </c:pt>
                <c:pt idx="209">
                  <c:v>4.0510431436090002</c:v>
                </c:pt>
                <c:pt idx="210">
                  <c:v>0</c:v>
                </c:pt>
                <c:pt idx="211">
                  <c:v>4.0993686972200001</c:v>
                </c:pt>
                <c:pt idx="212">
                  <c:v>8.2508250825079994</c:v>
                </c:pt>
                <c:pt idx="213">
                  <c:v>12.445034431261</c:v>
                </c:pt>
                <c:pt idx="214">
                  <c:v>12.547576226525001</c:v>
                </c:pt>
                <c:pt idx="215">
                  <c:v>16.772895001677</c:v>
                </c:pt>
                <c:pt idx="216">
                  <c:v>4.2006216920100004</c:v>
                </c:pt>
                <c:pt idx="217">
                  <c:v>12.68928178665</c:v>
                </c:pt>
                <c:pt idx="218">
                  <c:v>8.506656458678</c:v>
                </c:pt>
                <c:pt idx="219">
                  <c:v>4.2766112132740002</c:v>
                </c:pt>
                <c:pt idx="220">
                  <c:v>4.2951636457340001</c:v>
                </c:pt>
                <c:pt idx="221">
                  <c:v>4.3200276481759996</c:v>
                </c:pt>
                <c:pt idx="222">
                  <c:v>0</c:v>
                </c:pt>
                <c:pt idx="223">
                  <c:v>4.3327556325819998</c:v>
                </c:pt>
                <c:pt idx="224">
                  <c:v>0</c:v>
                </c:pt>
                <c:pt idx="225">
                  <c:v>0</c:v>
                </c:pt>
                <c:pt idx="226">
                  <c:v>4.378858869378</c:v>
                </c:pt>
                <c:pt idx="227">
                  <c:v>17.567745619042999</c:v>
                </c:pt>
                <c:pt idx="228">
                  <c:v>13.219353132986001</c:v>
                </c:pt>
                <c:pt idx="229">
                  <c:v>0</c:v>
                </c:pt>
                <c:pt idx="230">
                  <c:v>22.067261011563001</c:v>
                </c:pt>
                <c:pt idx="231">
                  <c:v>17.703815172169001</c:v>
                </c:pt>
                <c:pt idx="232">
                  <c:v>13.306719893545999</c:v>
                </c:pt>
                <c:pt idx="233">
                  <c:v>13.333333333333</c:v>
                </c:pt>
                <c:pt idx="234">
                  <c:v>13.360053440212999</c:v>
                </c:pt>
                <c:pt idx="235">
                  <c:v>22.333392889047001</c:v>
                </c:pt>
                <c:pt idx="236">
                  <c:v>13.409619166815</c:v>
                </c:pt>
                <c:pt idx="237">
                  <c:v>8.9457440622619995</c:v>
                </c:pt>
                <c:pt idx="238">
                  <c:v>8.9641880686650008</c:v>
                </c:pt>
                <c:pt idx="239">
                  <c:v>17.963802937080999</c:v>
                </c:pt>
                <c:pt idx="240">
                  <c:v>22.504275812404</c:v>
                </c:pt>
                <c:pt idx="241">
                  <c:v>45.085662759241998</c:v>
                </c:pt>
                <c:pt idx="242">
                  <c:v>49.760246087035</c:v>
                </c:pt>
                <c:pt idx="243">
                  <c:v>18.108560822127998</c:v>
                </c:pt>
                <c:pt idx="244">
                  <c:v>18.124150430448001</c:v>
                </c:pt>
                <c:pt idx="245">
                  <c:v>22.709724303946</c:v>
                </c:pt>
                <c:pt idx="246">
                  <c:v>36.401692678708997</c:v>
                </c:pt>
                <c:pt idx="247">
                  <c:v>31.900833978944998</c:v>
                </c:pt>
                <c:pt idx="248">
                  <c:v>27.396009314642999</c:v>
                </c:pt>
                <c:pt idx="249">
                  <c:v>22.89901534234</c:v>
                </c:pt>
                <c:pt idx="250">
                  <c:v>18.337688534360002</c:v>
                </c:pt>
                <c:pt idx="251">
                  <c:v>13.765256492612</c:v>
                </c:pt>
                <c:pt idx="252">
                  <c:v>45.977011494251997</c:v>
                </c:pt>
                <c:pt idx="253">
                  <c:v>82.811924917187994</c:v>
                </c:pt>
                <c:pt idx="254">
                  <c:v>32.271448988058999</c:v>
                </c:pt>
                <c:pt idx="255">
                  <c:v>50.836491357796</c:v>
                </c:pt>
                <c:pt idx="256">
                  <c:v>13.894678338196</c:v>
                </c:pt>
                <c:pt idx="257">
                  <c:v>23.176045239640001</c:v>
                </c:pt>
                <c:pt idx="258">
                  <c:v>27.830604387958001</c:v>
                </c:pt>
                <c:pt idx="259">
                  <c:v>125.51134250650701</c:v>
                </c:pt>
                <c:pt idx="260">
                  <c:v>97.78812572759</c:v>
                </c:pt>
                <c:pt idx="261">
                  <c:v>125.938709827883</c:v>
                </c:pt>
                <c:pt idx="262">
                  <c:v>130.77390126570401</c:v>
                </c:pt>
                <c:pt idx="263">
                  <c:v>84.277554078096998</c:v>
                </c:pt>
                <c:pt idx="264">
                  <c:v>74.976569821929999</c:v>
                </c:pt>
                <c:pt idx="265">
                  <c:v>37.509377344336002</c:v>
                </c:pt>
                <c:pt idx="266">
                  <c:v>145.60826679192101</c:v>
                </c:pt>
                <c:pt idx="267">
                  <c:v>197.68426998023099</c:v>
                </c:pt>
                <c:pt idx="268">
                  <c:v>164.96205872649199</c:v>
                </c:pt>
                <c:pt idx="269">
                  <c:v>108.608395901213</c:v>
                </c:pt>
                <c:pt idx="270">
                  <c:v>184.60664583925001</c:v>
                </c:pt>
                <c:pt idx="271">
                  <c:v>132.644843431711</c:v>
                </c:pt>
                <c:pt idx="272">
                  <c:v>80.583996966249003</c:v>
                </c:pt>
                <c:pt idx="273">
                  <c:v>270.69383103006101</c:v>
                </c:pt>
                <c:pt idx="274">
                  <c:v>299.62903072386501</c:v>
                </c:pt>
                <c:pt idx="275">
                  <c:v>247.831474597273</c:v>
                </c:pt>
                <c:pt idx="276">
                  <c:v>258.05218388607398</c:v>
                </c:pt>
                <c:pt idx="277">
                  <c:v>268.44350702267297</c:v>
                </c:pt>
                <c:pt idx="278">
                  <c:v>100.806451612903</c:v>
                </c:pt>
                <c:pt idx="279">
                  <c:v>62.493990962406997</c:v>
                </c:pt>
                <c:pt idx="280">
                  <c:v>216.84656900539699</c:v>
                </c:pt>
                <c:pt idx="281">
                  <c:v>290.09331334912702</c:v>
                </c:pt>
                <c:pt idx="282">
                  <c:v>291.19145838388698</c:v>
                </c:pt>
                <c:pt idx="283">
                  <c:v>262.46719160104902</c:v>
                </c:pt>
                <c:pt idx="284">
                  <c:v>399.98048875664603</c:v>
                </c:pt>
                <c:pt idx="285">
                  <c:v>161.274557716743</c:v>
                </c:pt>
                <c:pt idx="286">
                  <c:v>107.67423649177699</c:v>
                </c:pt>
                <c:pt idx="287">
                  <c:v>333.90621163761301</c:v>
                </c:pt>
                <c:pt idx="288">
                  <c:v>389.33517322951002</c:v>
                </c:pt>
                <c:pt idx="289">
                  <c:v>316.47134450872699</c:v>
                </c:pt>
                <c:pt idx="290">
                  <c:v>367.24565756823802</c:v>
                </c:pt>
                <c:pt idx="291">
                  <c:v>667.99601196410697</c:v>
                </c:pt>
                <c:pt idx="292">
                  <c:v>319.71225896692903</c:v>
                </c:pt>
                <c:pt idx="293">
                  <c:v>200.11006053329299</c:v>
                </c:pt>
                <c:pt idx="294">
                  <c:v>416.72942712255798</c:v>
                </c:pt>
                <c:pt idx="295">
                  <c:v>473.384700609356</c:v>
                </c:pt>
                <c:pt idx="296">
                  <c:v>378.86441705394998</c:v>
                </c:pt>
                <c:pt idx="297">
                  <c:v>517.188926072406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D85-4A13-AC6C-516478A67F7A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00</c:f>
              <c:numCache>
                <c:formatCode>m/d/yyyy</c:formatCode>
                <c:ptCount val="299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</c:numCache>
            </c:numRef>
          </c:cat>
          <c:val>
            <c:numRef>
              <c:f>List1!$C$2:$C$300</c:f>
              <c:numCache>
                <c:formatCode>General</c:formatCode>
                <c:ptCount val="29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54.555373704308998</c:v>
                </c:pt>
                <c:pt idx="9">
                  <c:v>0</c:v>
                </c:pt>
                <c:pt idx="10">
                  <c:v>16.051364365971001</c:v>
                </c:pt>
                <c:pt idx="11">
                  <c:v>12.737230925996</c:v>
                </c:pt>
                <c:pt idx="12">
                  <c:v>12.440905697933999</c:v>
                </c:pt>
                <c:pt idx="13">
                  <c:v>0</c:v>
                </c:pt>
                <c:pt idx="14">
                  <c:v>10.263779123473</c:v>
                </c:pt>
                <c:pt idx="15">
                  <c:v>25.695931477516002</c:v>
                </c:pt>
                <c:pt idx="16">
                  <c:v>0</c:v>
                </c:pt>
                <c:pt idx="17">
                  <c:v>25.803122177782999</c:v>
                </c:pt>
                <c:pt idx="18">
                  <c:v>17.735737511084</c:v>
                </c:pt>
                <c:pt idx="19">
                  <c:v>11.721268241222999</c:v>
                </c:pt>
                <c:pt idx="20">
                  <c:v>0</c:v>
                </c:pt>
                <c:pt idx="21">
                  <c:v>5.4133059059160002</c:v>
                </c:pt>
                <c:pt idx="22">
                  <c:v>35.880875493361998</c:v>
                </c:pt>
                <c:pt idx="23">
                  <c:v>4.8787627457670002</c:v>
                </c:pt>
                <c:pt idx="24">
                  <c:v>18.751171948246</c:v>
                </c:pt>
                <c:pt idx="25">
                  <c:v>40.672451193058002</c:v>
                </c:pt>
                <c:pt idx="26">
                  <c:v>13.509253838878999</c:v>
                </c:pt>
                <c:pt idx="27">
                  <c:v>4.4992351300270004</c:v>
                </c:pt>
                <c:pt idx="28">
                  <c:v>8.7738539153319994</c:v>
                </c:pt>
                <c:pt idx="29">
                  <c:v>25.795356835768999</c:v>
                </c:pt>
                <c:pt idx="30">
                  <c:v>33.899741514470001</c:v>
                </c:pt>
                <c:pt idx="31">
                  <c:v>8.3326389467540007</c:v>
                </c:pt>
                <c:pt idx="32">
                  <c:v>8.2031089783019997</c:v>
                </c:pt>
                <c:pt idx="33">
                  <c:v>24.587140925296001</c:v>
                </c:pt>
                <c:pt idx="34">
                  <c:v>4.0955072285699998</c:v>
                </c:pt>
                <c:pt idx="35">
                  <c:v>16.196954972465001</c:v>
                </c:pt>
                <c:pt idx="36">
                  <c:v>8.0035215494810004</c:v>
                </c:pt>
                <c:pt idx="37">
                  <c:v>11.887308317153</c:v>
                </c:pt>
                <c:pt idx="38">
                  <c:v>23.485204321276999</c:v>
                </c:pt>
                <c:pt idx="39">
                  <c:v>23.224308109153998</c:v>
                </c:pt>
                <c:pt idx="40">
                  <c:v>3.8687712782419998</c:v>
                </c:pt>
                <c:pt idx="41">
                  <c:v>7.73126135529</c:v>
                </c:pt>
                <c:pt idx="42">
                  <c:v>30.684258975144999</c:v>
                </c:pt>
                <c:pt idx="43">
                  <c:v>7.6097709458939997</c:v>
                </c:pt>
                <c:pt idx="44">
                  <c:v>0</c:v>
                </c:pt>
                <c:pt idx="45">
                  <c:v>22.464337863640999</c:v>
                </c:pt>
                <c:pt idx="46">
                  <c:v>22.250241044277001</c:v>
                </c:pt>
                <c:pt idx="47">
                  <c:v>3.7075485688860002</c:v>
                </c:pt>
                <c:pt idx="48">
                  <c:v>3.7053505261590001</c:v>
                </c:pt>
                <c:pt idx="49">
                  <c:v>14.659532360917</c:v>
                </c:pt>
                <c:pt idx="50">
                  <c:v>25.374270489722999</c:v>
                </c:pt>
                <c:pt idx="51">
                  <c:v>21.503064186646</c:v>
                </c:pt>
                <c:pt idx="52">
                  <c:v>14.092942958813</c:v>
                </c:pt>
                <c:pt idx="53">
                  <c:v>0</c:v>
                </c:pt>
                <c:pt idx="54">
                  <c:v>3.4524426031409998</c:v>
                </c:pt>
                <c:pt idx="55">
                  <c:v>0</c:v>
                </c:pt>
                <c:pt idx="56">
                  <c:v>13.491635186184</c:v>
                </c:pt>
                <c:pt idx="57">
                  <c:v>16.532204734823001</c:v>
                </c:pt>
                <c:pt idx="58">
                  <c:v>16.151435862648</c:v>
                </c:pt>
                <c:pt idx="59">
                  <c:v>6.3245106409889997</c:v>
                </c:pt>
                <c:pt idx="60">
                  <c:v>3.0773018217620001</c:v>
                </c:pt>
                <c:pt idx="61">
                  <c:v>9.1956841589010008</c:v>
                </c:pt>
                <c:pt idx="62">
                  <c:v>0</c:v>
                </c:pt>
                <c:pt idx="63">
                  <c:v>0</c:v>
                </c:pt>
                <c:pt idx="64">
                  <c:v>2.9176635350410001</c:v>
                </c:pt>
                <c:pt idx="65">
                  <c:v>11.397634990739</c:v>
                </c:pt>
                <c:pt idx="66">
                  <c:v>5.5714962253109999</c:v>
                </c:pt>
                <c:pt idx="67">
                  <c:v>2.7092194738690001</c:v>
                </c:pt>
                <c:pt idx="68">
                  <c:v>5.3951982735359998</c:v>
                </c:pt>
                <c:pt idx="69">
                  <c:v>0</c:v>
                </c:pt>
                <c:pt idx="70">
                  <c:v>2.6366440794149999</c:v>
                </c:pt>
                <c:pt idx="71">
                  <c:v>5.1715667261389999</c:v>
                </c:pt>
                <c:pt idx="72">
                  <c:v>2.5310688703830002</c:v>
                </c:pt>
                <c:pt idx="73">
                  <c:v>7.4090538638209997</c:v>
                </c:pt>
                <c:pt idx="74">
                  <c:v>4.8983590497179996</c:v>
                </c:pt>
                <c:pt idx="75">
                  <c:v>4.8713951675749998</c:v>
                </c:pt>
                <c:pt idx="76">
                  <c:v>2.4263011039669999</c:v>
                </c:pt>
                <c:pt idx="77">
                  <c:v>7.2539110670499998</c:v>
                </c:pt>
                <c:pt idx="78">
                  <c:v>4.7301452154580002</c:v>
                </c:pt>
                <c:pt idx="79">
                  <c:v>4.6595065582549999</c:v>
                </c:pt>
                <c:pt idx="80">
                  <c:v>4.5758213599340003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8.7627059235889995</c:v>
                </c:pt>
                <c:pt idx="85">
                  <c:v>8.655760408551</c:v>
                </c:pt>
                <c:pt idx="86">
                  <c:v>4.2742349119499998</c:v>
                </c:pt>
                <c:pt idx="87">
                  <c:v>6.3392781675250003</c:v>
                </c:pt>
                <c:pt idx="88">
                  <c:v>2.0851578464479998</c:v>
                </c:pt>
                <c:pt idx="89">
                  <c:v>0</c:v>
                </c:pt>
                <c:pt idx="90">
                  <c:v>0</c:v>
                </c:pt>
                <c:pt idx="91">
                  <c:v>6.1923338906429999</c:v>
                </c:pt>
                <c:pt idx="92">
                  <c:v>6.156877231867</c:v>
                </c:pt>
                <c:pt idx="93">
                  <c:v>0</c:v>
                </c:pt>
                <c:pt idx="94">
                  <c:v>2.0309517039679998</c:v>
                </c:pt>
                <c:pt idx="95">
                  <c:v>4.0404856663770001</c:v>
                </c:pt>
                <c:pt idx="96">
                  <c:v>0</c:v>
                </c:pt>
                <c:pt idx="97">
                  <c:v>0</c:v>
                </c:pt>
                <c:pt idx="98">
                  <c:v>4.0188080215399999</c:v>
                </c:pt>
                <c:pt idx="99">
                  <c:v>4.0038436899420002</c:v>
                </c:pt>
                <c:pt idx="100">
                  <c:v>7.9714621654469999</c:v>
                </c:pt>
                <c:pt idx="101">
                  <c:v>1.986018430251</c:v>
                </c:pt>
                <c:pt idx="102">
                  <c:v>1.980158808736</c:v>
                </c:pt>
                <c:pt idx="103">
                  <c:v>0</c:v>
                </c:pt>
                <c:pt idx="104">
                  <c:v>1.978121971</c:v>
                </c:pt>
                <c:pt idx="105">
                  <c:v>7.8992061297829999</c:v>
                </c:pt>
                <c:pt idx="106">
                  <c:v>3.943373161402</c:v>
                </c:pt>
                <c:pt idx="107">
                  <c:v>1.9681165124969999</c:v>
                </c:pt>
                <c:pt idx="108">
                  <c:v>3.9283469516020002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1.9543082725859999</c:v>
                </c:pt>
                <c:pt idx="113">
                  <c:v>0</c:v>
                </c:pt>
                <c:pt idx="114">
                  <c:v>1.9464720194639999</c:v>
                </c:pt>
                <c:pt idx="115">
                  <c:v>1.940730102664</c:v>
                </c:pt>
                <c:pt idx="116">
                  <c:v>1.936445847291</c:v>
                </c:pt>
                <c:pt idx="117">
                  <c:v>1.9282684149630001</c:v>
                </c:pt>
                <c:pt idx="118">
                  <c:v>0</c:v>
                </c:pt>
                <c:pt idx="119">
                  <c:v>1.921598770176</c:v>
                </c:pt>
                <c:pt idx="120">
                  <c:v>0</c:v>
                </c:pt>
                <c:pt idx="121">
                  <c:v>0</c:v>
                </c:pt>
                <c:pt idx="122">
                  <c:v>1.8868280533590001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1.861157640052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5">
                  <c:v>0</c:v>
                </c:pt>
                <c:pt idx="136">
                  <c:v>1.7770195827549999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50">
                  <c:v>0</c:v>
                </c:pt>
                <c:pt idx="151">
                  <c:v>1.6849199663009999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1.6598612356</c:v>
                </c:pt>
                <c:pt idx="157">
                  <c:v>4.9590055540859996</c:v>
                </c:pt>
                <c:pt idx="158">
                  <c:v>0</c:v>
                </c:pt>
                <c:pt idx="159">
                  <c:v>0</c:v>
                </c:pt>
                <c:pt idx="161">
                  <c:v>3.2686147610640002</c:v>
                </c:pt>
                <c:pt idx="162">
                  <c:v>0</c:v>
                </c:pt>
                <c:pt idx="163">
                  <c:v>3.2429101876019999</c:v>
                </c:pt>
                <c:pt idx="164">
                  <c:v>1.614309237077</c:v>
                </c:pt>
                <c:pt idx="165">
                  <c:v>3.2147621879670001</c:v>
                </c:pt>
                <c:pt idx="166">
                  <c:v>0</c:v>
                </c:pt>
                <c:pt idx="167">
                  <c:v>0</c:v>
                </c:pt>
                <c:pt idx="168">
                  <c:v>1.6021789633900001</c:v>
                </c:pt>
                <c:pt idx="169">
                  <c:v>4.8013059552190001</c:v>
                </c:pt>
                <c:pt idx="170">
                  <c:v>0</c:v>
                </c:pt>
                <c:pt idx="171">
                  <c:v>1.5890672175430001</c:v>
                </c:pt>
                <c:pt idx="172">
                  <c:v>1.5835563508520001</c:v>
                </c:pt>
                <c:pt idx="173">
                  <c:v>0</c:v>
                </c:pt>
                <c:pt idx="174">
                  <c:v>0</c:v>
                </c:pt>
                <c:pt idx="175">
                  <c:v>1.5753241229379999</c:v>
                </c:pt>
                <c:pt idx="176">
                  <c:v>4.7129795456680004</c:v>
                </c:pt>
                <c:pt idx="177">
                  <c:v>1.5652391685439999</c:v>
                </c:pt>
                <c:pt idx="178">
                  <c:v>1.5601841017239999</c:v>
                </c:pt>
                <c:pt idx="179">
                  <c:v>1.554605518849</c:v>
                </c:pt>
                <c:pt idx="180">
                  <c:v>1.5529397148799999</c:v>
                </c:pt>
                <c:pt idx="181">
                  <c:v>1.5507963339169999</c:v>
                </c:pt>
                <c:pt idx="182">
                  <c:v>3.0911423316479998</c:v>
                </c:pt>
                <c:pt idx="183">
                  <c:v>4.6206450420470002</c:v>
                </c:pt>
                <c:pt idx="184">
                  <c:v>1.5352964657470001</c:v>
                </c:pt>
                <c:pt idx="185">
                  <c:v>1.530596626565</c:v>
                </c:pt>
                <c:pt idx="186">
                  <c:v>1.525762499809</c:v>
                </c:pt>
                <c:pt idx="187">
                  <c:v>0</c:v>
                </c:pt>
                <c:pt idx="188">
                  <c:v>0</c:v>
                </c:pt>
                <c:pt idx="189">
                  <c:v>3.03720577069</c:v>
                </c:pt>
                <c:pt idx="190">
                  <c:v>1.514554872323</c:v>
                </c:pt>
                <c:pt idx="191">
                  <c:v>1.5102774379649999</c:v>
                </c:pt>
                <c:pt idx="192">
                  <c:v>0</c:v>
                </c:pt>
                <c:pt idx="193">
                  <c:v>3.0063433845410001</c:v>
                </c:pt>
                <c:pt idx="194">
                  <c:v>0</c:v>
                </c:pt>
                <c:pt idx="195">
                  <c:v>0</c:v>
                </c:pt>
                <c:pt idx="196">
                  <c:v>1.4977010289199999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1.4846487321090001</c:v>
                </c:pt>
                <c:pt idx="201">
                  <c:v>1.483151400094</c:v>
                </c:pt>
                <c:pt idx="202">
                  <c:v>1.4821841465579999</c:v>
                </c:pt>
                <c:pt idx="203">
                  <c:v>1.478284007923</c:v>
                </c:pt>
                <c:pt idx="204">
                  <c:v>1.474969763119</c:v>
                </c:pt>
                <c:pt idx="205">
                  <c:v>4.4142314822979998</c:v>
                </c:pt>
                <c:pt idx="206">
                  <c:v>0</c:v>
                </c:pt>
                <c:pt idx="207">
                  <c:v>1.4647936838090001</c:v>
                </c:pt>
                <c:pt idx="208">
                  <c:v>0</c:v>
                </c:pt>
                <c:pt idx="209">
                  <c:v>0</c:v>
                </c:pt>
                <c:pt idx="210">
                  <c:v>1.4601311197739999</c:v>
                </c:pt>
                <c:pt idx="211">
                  <c:v>0</c:v>
                </c:pt>
                <c:pt idx="212">
                  <c:v>1.454672407773</c:v>
                </c:pt>
                <c:pt idx="213">
                  <c:v>2.903895575915</c:v>
                </c:pt>
                <c:pt idx="214">
                  <c:v>4.3437341634689997</c:v>
                </c:pt>
                <c:pt idx="215">
                  <c:v>1.446738328438</c:v>
                </c:pt>
                <c:pt idx="216">
                  <c:v>0</c:v>
                </c:pt>
                <c:pt idx="217">
                  <c:v>2.8852950935549999</c:v>
                </c:pt>
                <c:pt idx="218">
                  <c:v>2.8800599052460001</c:v>
                </c:pt>
                <c:pt idx="219">
                  <c:v>0</c:v>
                </c:pt>
                <c:pt idx="220">
                  <c:v>2.8710057133009999</c:v>
                </c:pt>
                <c:pt idx="221">
                  <c:v>1.432849507816</c:v>
                </c:pt>
                <c:pt idx="222">
                  <c:v>0</c:v>
                </c:pt>
                <c:pt idx="223">
                  <c:v>2.8633604398119998</c:v>
                </c:pt>
                <c:pt idx="224">
                  <c:v>2.860330082091</c:v>
                </c:pt>
                <c:pt idx="225">
                  <c:v>4.2849185151320004</c:v>
                </c:pt>
                <c:pt idx="226">
                  <c:v>5.7080883612070004</c:v>
                </c:pt>
                <c:pt idx="227">
                  <c:v>4.2772209469759996</c:v>
                </c:pt>
                <c:pt idx="228">
                  <c:v>1.424318819524</c:v>
                </c:pt>
                <c:pt idx="229">
                  <c:v>2.8479886080450001</c:v>
                </c:pt>
                <c:pt idx="230">
                  <c:v>1.423791556916</c:v>
                </c:pt>
                <c:pt idx="231">
                  <c:v>5.6903860926960004</c:v>
                </c:pt>
                <c:pt idx="232">
                  <c:v>8.5303609764410009</c:v>
                </c:pt>
                <c:pt idx="233">
                  <c:v>7.1045938303699998</c:v>
                </c:pt>
                <c:pt idx="234">
                  <c:v>5.6804464830930002</c:v>
                </c:pt>
                <c:pt idx="235">
                  <c:v>0</c:v>
                </c:pt>
                <c:pt idx="236">
                  <c:v>1.4186409419770001</c:v>
                </c:pt>
                <c:pt idx="237">
                  <c:v>0</c:v>
                </c:pt>
                <c:pt idx="238">
                  <c:v>7.0880764378160004</c:v>
                </c:pt>
                <c:pt idx="239">
                  <c:v>2.8336639274580002</c:v>
                </c:pt>
                <c:pt idx="240">
                  <c:v>5.6637970095150001</c:v>
                </c:pt>
                <c:pt idx="241">
                  <c:v>2.8305758806619998</c:v>
                </c:pt>
                <c:pt idx="242">
                  <c:v>0</c:v>
                </c:pt>
                <c:pt idx="243">
                  <c:v>0</c:v>
                </c:pt>
                <c:pt idx="244">
                  <c:v>4.2416616002370002</c:v>
                </c:pt>
                <c:pt idx="245">
                  <c:v>5.6521923441049999</c:v>
                </c:pt>
                <c:pt idx="246">
                  <c:v>7.062346393965</c:v>
                </c:pt>
                <c:pt idx="247">
                  <c:v>8.4721829991520003</c:v>
                </c:pt>
                <c:pt idx="248">
                  <c:v>14.114126829543</c:v>
                </c:pt>
                <c:pt idx="249">
                  <c:v>7.0515894282570004</c:v>
                </c:pt>
                <c:pt idx="250">
                  <c:v>5.6404760561789997</c:v>
                </c:pt>
                <c:pt idx="251">
                  <c:v>2.8199199142740001</c:v>
                </c:pt>
                <c:pt idx="252">
                  <c:v>12.68373803853</c:v>
                </c:pt>
                <c:pt idx="253">
                  <c:v>18.320438563113001</c:v>
                </c:pt>
                <c:pt idx="254">
                  <c:v>15.494485371796999</c:v>
                </c:pt>
                <c:pt idx="255">
                  <c:v>12.669810656718001</c:v>
                </c:pt>
                <c:pt idx="256">
                  <c:v>15.477698044181</c:v>
                </c:pt>
                <c:pt idx="257">
                  <c:v>5.6277787157399999</c:v>
                </c:pt>
                <c:pt idx="258">
                  <c:v>9.8481970764919993</c:v>
                </c:pt>
                <c:pt idx="259">
                  <c:v>16.874077198902999</c:v>
                </c:pt>
                <c:pt idx="260">
                  <c:v>47.792412251724997</c:v>
                </c:pt>
                <c:pt idx="261">
                  <c:v>32.319258062248998</c:v>
                </c:pt>
                <c:pt idx="262">
                  <c:v>36.526088055968998</c:v>
                </c:pt>
                <c:pt idx="263">
                  <c:v>39.312591261371999</c:v>
                </c:pt>
                <c:pt idx="264">
                  <c:v>16.846834199073001</c:v>
                </c:pt>
                <c:pt idx="265">
                  <c:v>18.250480829975</c:v>
                </c:pt>
                <c:pt idx="266">
                  <c:v>68.764208930926998</c:v>
                </c:pt>
                <c:pt idx="267">
                  <c:v>61.719736288398998</c:v>
                </c:pt>
                <c:pt idx="268">
                  <c:v>40.668648678970001</c:v>
                </c:pt>
                <c:pt idx="269">
                  <c:v>25.232347869969001</c:v>
                </c:pt>
                <c:pt idx="270">
                  <c:v>60.244339834117</c:v>
                </c:pt>
                <c:pt idx="271">
                  <c:v>36.423748283880997</c:v>
                </c:pt>
                <c:pt idx="272">
                  <c:v>35.021853636669</c:v>
                </c:pt>
                <c:pt idx="273">
                  <c:v>109.237577726737</c:v>
                </c:pt>
                <c:pt idx="274">
                  <c:v>92.414971225337993</c:v>
                </c:pt>
                <c:pt idx="275">
                  <c:v>74.186053022031004</c:v>
                </c:pt>
                <c:pt idx="276">
                  <c:v>85.338556239507</c:v>
                </c:pt>
                <c:pt idx="277">
                  <c:v>106.253582563227</c:v>
                </c:pt>
                <c:pt idx="278">
                  <c:v>47.527852719571001</c:v>
                </c:pt>
                <c:pt idx="279">
                  <c:v>36.338732896335998</c:v>
                </c:pt>
                <c:pt idx="280">
                  <c:v>117.35121542330199</c:v>
                </c:pt>
                <c:pt idx="281">
                  <c:v>124.24788150381799</c:v>
                </c:pt>
                <c:pt idx="282">
                  <c:v>115.774643958097</c:v>
                </c:pt>
                <c:pt idx="283">
                  <c:v>93.440999679231993</c:v>
                </c:pt>
                <c:pt idx="284">
                  <c:v>122.634410100615</c:v>
                </c:pt>
                <c:pt idx="285">
                  <c:v>87.770626097131995</c:v>
                </c:pt>
                <c:pt idx="286">
                  <c:v>43.181501601893999</c:v>
                </c:pt>
                <c:pt idx="287">
                  <c:v>136.416152786091</c:v>
                </c:pt>
                <c:pt idx="288">
                  <c:v>165.521462152613</c:v>
                </c:pt>
                <c:pt idx="289">
                  <c:v>105.63771822528599</c:v>
                </c:pt>
                <c:pt idx="290">
                  <c:v>126.390644314504</c:v>
                </c:pt>
                <c:pt idx="291">
                  <c:v>162.34216733731</c:v>
                </c:pt>
                <c:pt idx="292">
                  <c:v>84.611756872971</c:v>
                </c:pt>
                <c:pt idx="293">
                  <c:v>69.344280483744996</c:v>
                </c:pt>
                <c:pt idx="294">
                  <c:v>157.986640427949</c:v>
                </c:pt>
                <c:pt idx="295">
                  <c:v>145.429362880886</c:v>
                </c:pt>
                <c:pt idx="296">
                  <c:v>125.965504830984</c:v>
                </c:pt>
                <c:pt idx="297">
                  <c:v>164.596531024370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D85-4A13-AC6C-516478A67F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7466795309236889"/>
          <c:h val="0.90552881115878769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31750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299</c:f>
              <c:numCache>
                <c:formatCode>m/d/yyyy</c:formatCode>
                <c:ptCount val="29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</c:numCache>
            </c:numRef>
          </c:cat>
          <c:val>
            <c:numRef>
              <c:f>List1!$B$2:$B$299</c:f>
              <c:numCache>
                <c:formatCode>General</c:formatCode>
                <c:ptCount val="298"/>
                <c:pt idx="0">
                  <c:v>111.26404193418099</c:v>
                </c:pt>
                <c:pt idx="1">
                  <c:v>113.85877356648</c:v>
                </c:pt>
                <c:pt idx="2">
                  <c:v>124.00035189289</c:v>
                </c:pt>
                <c:pt idx="3">
                  <c:v>95.210811903879005</c:v>
                </c:pt>
                <c:pt idx="4">
                  <c:v>100.17710636103401</c:v>
                </c:pt>
                <c:pt idx="5">
                  <c:v>49.616426853935998</c:v>
                </c:pt>
                <c:pt idx="6">
                  <c:v>35.735556879093998</c:v>
                </c:pt>
                <c:pt idx="7">
                  <c:v>117.420869946708</c:v>
                </c:pt>
                <c:pt idx="8">
                  <c:v>124.436759928743</c:v>
                </c:pt>
                <c:pt idx="9">
                  <c:v>116.36738337723</c:v>
                </c:pt>
                <c:pt idx="10">
                  <c:v>105.19347437722701</c:v>
                </c:pt>
                <c:pt idx="11">
                  <c:v>106.527978713011</c:v>
                </c:pt>
                <c:pt idx="12">
                  <c:v>51.319374463479001</c:v>
                </c:pt>
                <c:pt idx="13">
                  <c:v>26.199198117400002</c:v>
                </c:pt>
                <c:pt idx="14">
                  <c:v>127.46789342533999</c:v>
                </c:pt>
                <c:pt idx="15">
                  <c:v>132.33587635483701</c:v>
                </c:pt>
                <c:pt idx="16">
                  <c:v>128.56866989866899</c:v>
                </c:pt>
                <c:pt idx="17">
                  <c:v>134.83877060619699</c:v>
                </c:pt>
                <c:pt idx="18">
                  <c:v>135.24581330689401</c:v>
                </c:pt>
                <c:pt idx="19">
                  <c:v>67.625689105771002</c:v>
                </c:pt>
                <c:pt idx="20">
                  <c:v>38.544850462265998</c:v>
                </c:pt>
                <c:pt idx="21">
                  <c:v>151.87422811175199</c:v>
                </c:pt>
                <c:pt idx="22">
                  <c:v>185.188341087385</c:v>
                </c:pt>
                <c:pt idx="23">
                  <c:v>162.820208247625</c:v>
                </c:pt>
                <c:pt idx="24">
                  <c:v>174.745703676153</c:v>
                </c:pt>
                <c:pt idx="25">
                  <c:v>185.014987415376</c:v>
                </c:pt>
                <c:pt idx="26">
                  <c:v>99.340140641556005</c:v>
                </c:pt>
                <c:pt idx="27">
                  <c:v>48.197126246346997</c:v>
                </c:pt>
                <c:pt idx="28">
                  <c:v>176.249603590856</c:v>
                </c:pt>
                <c:pt idx="29">
                  <c:v>205.071990737889</c:v>
                </c:pt>
                <c:pt idx="30">
                  <c:v>182.481751824817</c:v>
                </c:pt>
                <c:pt idx="31">
                  <c:v>167.822008478768</c:v>
                </c:pt>
                <c:pt idx="32">
                  <c:v>160.32721901708001</c:v>
                </c:pt>
                <c:pt idx="33">
                  <c:v>80.198538744733995</c:v>
                </c:pt>
                <c:pt idx="34">
                  <c:v>44.854947942989</c:v>
                </c:pt>
                <c:pt idx="35">
                  <c:v>144.85387547649299</c:v>
                </c:pt>
                <c:pt idx="36">
                  <c:v>166.30208133451001</c:v>
                </c:pt>
                <c:pt idx="37">
                  <c:v>165.88972833949501</c:v>
                </c:pt>
                <c:pt idx="38">
                  <c:v>122.196432381408</c:v>
                </c:pt>
                <c:pt idx="39">
                  <c:v>156.83569346105699</c:v>
                </c:pt>
                <c:pt idx="40">
                  <c:v>74.847376436744</c:v>
                </c:pt>
                <c:pt idx="41">
                  <c:v>39.706561997564997</c:v>
                </c:pt>
                <c:pt idx="42">
                  <c:v>138.47791865075399</c:v>
                </c:pt>
                <c:pt idx="43">
                  <c:v>152.78888903461001</c:v>
                </c:pt>
                <c:pt idx="44">
                  <c:v>123.821880907061</c:v>
                </c:pt>
                <c:pt idx="45">
                  <c:v>111.74218631191199</c:v>
                </c:pt>
                <c:pt idx="46">
                  <c:v>99.095504123436996</c:v>
                </c:pt>
                <c:pt idx="47">
                  <c:v>38.574601950012003</c:v>
                </c:pt>
                <c:pt idx="48">
                  <c:v>28.600884632012999</c:v>
                </c:pt>
                <c:pt idx="49">
                  <c:v>119.027717409475</c:v>
                </c:pt>
                <c:pt idx="50">
                  <c:v>98.788330880424994</c:v>
                </c:pt>
                <c:pt idx="51">
                  <c:v>87.180422926423006</c:v>
                </c:pt>
                <c:pt idx="52">
                  <c:v>79.060542655207001</c:v>
                </c:pt>
                <c:pt idx="53">
                  <c:v>80.510311512973999</c:v>
                </c:pt>
                <c:pt idx="54">
                  <c:v>36.508920575875997</c:v>
                </c:pt>
                <c:pt idx="55">
                  <c:v>14.486155374362999</c:v>
                </c:pt>
                <c:pt idx="56">
                  <c:v>88.440111420611998</c:v>
                </c:pt>
                <c:pt idx="57">
                  <c:v>95.613720568901002</c:v>
                </c:pt>
                <c:pt idx="58">
                  <c:v>67.534904882418004</c:v>
                </c:pt>
                <c:pt idx="59">
                  <c:v>61.843363703698003</c:v>
                </c:pt>
                <c:pt idx="60">
                  <c:v>34.317591051139999</c:v>
                </c:pt>
                <c:pt idx="61">
                  <c:v>23.397285914832999</c:v>
                </c:pt>
                <c:pt idx="62">
                  <c:v>31.466100764699</c:v>
                </c:pt>
                <c:pt idx="63">
                  <c:v>25.910955151837999</c:v>
                </c:pt>
                <c:pt idx="64">
                  <c:v>89.911886351375003</c:v>
                </c:pt>
                <c:pt idx="65">
                  <c:v>67.569106493467004</c:v>
                </c:pt>
                <c:pt idx="66">
                  <c:v>59.287320213126002</c:v>
                </c:pt>
                <c:pt idx="67">
                  <c:v>47.808265343709998</c:v>
                </c:pt>
                <c:pt idx="68">
                  <c:v>21.213573544315999</c:v>
                </c:pt>
                <c:pt idx="69">
                  <c:v>10.225592297768999</c:v>
                </c:pt>
                <c:pt idx="70">
                  <c:v>38.251888687003003</c:v>
                </c:pt>
                <c:pt idx="71">
                  <c:v>46.861491972948997</c:v>
                </c:pt>
                <c:pt idx="72">
                  <c:v>45.919706113879997</c:v>
                </c:pt>
                <c:pt idx="73">
                  <c:v>31.733571613485001</c:v>
                </c:pt>
                <c:pt idx="74">
                  <c:v>37.800196561021998</c:v>
                </c:pt>
                <c:pt idx="75">
                  <c:v>11.804185426888999</c:v>
                </c:pt>
                <c:pt idx="76">
                  <c:v>9.2987869309770002</c:v>
                </c:pt>
                <c:pt idx="77">
                  <c:v>46.590822455081998</c:v>
                </c:pt>
                <c:pt idx="78">
                  <c:v>42.263239606692999</c:v>
                </c:pt>
                <c:pt idx="79">
                  <c:v>41.952174521045997</c:v>
                </c:pt>
                <c:pt idx="80">
                  <c:v>20.416496529195001</c:v>
                </c:pt>
                <c:pt idx="81">
                  <c:v>22.580703434073001</c:v>
                </c:pt>
                <c:pt idx="82">
                  <c:v>11.815603868246001</c:v>
                </c:pt>
                <c:pt idx="83">
                  <c:v>5.4694123116469999</c:v>
                </c:pt>
                <c:pt idx="84">
                  <c:v>22.096192089563001</c:v>
                </c:pt>
                <c:pt idx="85">
                  <c:v>25.145049684755001</c:v>
                </c:pt>
                <c:pt idx="86">
                  <c:v>21.677458270892</c:v>
                </c:pt>
                <c:pt idx="87">
                  <c:v>33.352709669427</c:v>
                </c:pt>
                <c:pt idx="88">
                  <c:v>29.939830598505999</c:v>
                </c:pt>
                <c:pt idx="89">
                  <c:v>9.6781061881809993</c:v>
                </c:pt>
                <c:pt idx="90">
                  <c:v>6.7898540181379996</c:v>
                </c:pt>
                <c:pt idx="91">
                  <c:v>26.373883993981998</c:v>
                </c:pt>
                <c:pt idx="92">
                  <c:v>22.617315029697</c:v>
                </c:pt>
                <c:pt idx="93">
                  <c:v>19.782002334276001</c:v>
                </c:pt>
                <c:pt idx="94">
                  <c:v>17.920076458992</c:v>
                </c:pt>
                <c:pt idx="95">
                  <c:v>27.037311489855998</c:v>
                </c:pt>
                <c:pt idx="96">
                  <c:v>10.030392088026</c:v>
                </c:pt>
                <c:pt idx="97">
                  <c:v>6.0279697797780001</c:v>
                </c:pt>
                <c:pt idx="98">
                  <c:v>17.132779037540001</c:v>
                </c:pt>
                <c:pt idx="99">
                  <c:v>33.393373945072</c:v>
                </c:pt>
                <c:pt idx="100">
                  <c:v>9.1543422096540006</c:v>
                </c:pt>
                <c:pt idx="101">
                  <c:v>19.411524315487998</c:v>
                </c:pt>
                <c:pt idx="102">
                  <c:v>16.418002339565</c:v>
                </c:pt>
                <c:pt idx="103">
                  <c:v>6.1611131077680001</c:v>
                </c:pt>
                <c:pt idx="104">
                  <c:v>3.082804118626</c:v>
                </c:pt>
                <c:pt idx="105">
                  <c:v>10.300252356182</c:v>
                </c:pt>
                <c:pt idx="106">
                  <c:v>9.2896513284199997</c:v>
                </c:pt>
                <c:pt idx="107">
                  <c:v>7.244726873796</c:v>
                </c:pt>
                <c:pt idx="108">
                  <c:v>11.420384347843999</c:v>
                </c:pt>
                <c:pt idx="109">
                  <c:v>7.2965310206799998</c:v>
                </c:pt>
                <c:pt idx="110">
                  <c:v>4.1712724466589997</c:v>
                </c:pt>
                <c:pt idx="111">
                  <c:v>1.0439939030750001</c:v>
                </c:pt>
                <c:pt idx="112">
                  <c:v>6.2775295828579996</c:v>
                </c:pt>
                <c:pt idx="113">
                  <c:v>5.2422440998540001</c:v>
                </c:pt>
                <c:pt idx="114">
                  <c:v>12.62639547975</c:v>
                </c:pt>
                <c:pt idx="115">
                  <c:v>3.167798274605</c:v>
                </c:pt>
                <c:pt idx="116">
                  <c:v>4.2389945105019997</c:v>
                </c:pt>
                <c:pt idx="117">
                  <c:v>1.0648379849</c:v>
                </c:pt>
                <c:pt idx="118">
                  <c:v>1.0657458622410001</c:v>
                </c:pt>
                <c:pt idx="119">
                  <c:v>4.279585308183</c:v>
                </c:pt>
                <c:pt idx="120">
                  <c:v>3.2345362214139999</c:v>
                </c:pt>
                <c:pt idx="121">
                  <c:v>1.085422772169</c:v>
                </c:pt>
                <c:pt idx="122">
                  <c:v>6.5773607243859997</c:v>
                </c:pt>
                <c:pt idx="123">
                  <c:v>3.3182537136780001</c:v>
                </c:pt>
                <c:pt idx="124">
                  <c:v>1.108241995722</c:v>
                </c:pt>
                <c:pt idx="125">
                  <c:v>1.109631602308</c:v>
                </c:pt>
                <c:pt idx="126">
                  <c:v>2.2351863027780001</c:v>
                </c:pt>
                <c:pt idx="127">
                  <c:v>1.125834524841</c:v>
                </c:pt>
                <c:pt idx="128">
                  <c:v>3.4010520587699999</c:v>
                </c:pt>
                <c:pt idx="129">
                  <c:v>4.5769732475909999</c:v>
                </c:pt>
                <c:pt idx="131">
                  <c:v>2.3205625043509999</c:v>
                </c:pt>
                <c:pt idx="132">
                  <c:v>1.163507743144</c:v>
                </c:pt>
                <c:pt idx="133">
                  <c:v>2.3416461772620001</c:v>
                </c:pt>
                <c:pt idx="135">
                  <c:v>1.1867745840349999</c:v>
                </c:pt>
                <c:pt idx="136">
                  <c:v>3.588173380537</c:v>
                </c:pt>
                <c:pt idx="137">
                  <c:v>4.8322017927459999</c:v>
                </c:pt>
                <c:pt idx="138">
                  <c:v>1.210419289241</c:v>
                </c:pt>
                <c:pt idx="139">
                  <c:v>1.212459231058</c:v>
                </c:pt>
                <c:pt idx="142">
                  <c:v>4.9375401175129996</c:v>
                </c:pt>
                <c:pt idx="143">
                  <c:v>3.7290705913059998</c:v>
                </c:pt>
                <c:pt idx="145">
                  <c:v>1.25776670943</c:v>
                </c:pt>
                <c:pt idx="146">
                  <c:v>3.779241884078</c:v>
                </c:pt>
                <c:pt idx="147">
                  <c:v>0</c:v>
                </c:pt>
                <c:pt idx="148">
                  <c:v>3.8260913925689999</c:v>
                </c:pt>
                <c:pt idx="150">
                  <c:v>1.293510458032</c:v>
                </c:pt>
                <c:pt idx="151">
                  <c:v>2.6070180927050002</c:v>
                </c:pt>
                <c:pt idx="153">
                  <c:v>1.309500425587</c:v>
                </c:pt>
                <c:pt idx="154">
                  <c:v>2.6343866489279999</c:v>
                </c:pt>
                <c:pt idx="155">
                  <c:v>1.3259434087349999</c:v>
                </c:pt>
                <c:pt idx="156">
                  <c:v>0</c:v>
                </c:pt>
                <c:pt idx="157">
                  <c:v>1.345062276383</c:v>
                </c:pt>
                <c:pt idx="158">
                  <c:v>6.7793852453449999</c:v>
                </c:pt>
                <c:pt idx="159">
                  <c:v>1.358917214763</c:v>
                </c:pt>
                <c:pt idx="161">
                  <c:v>2.7393882945930002</c:v>
                </c:pt>
                <c:pt idx="162">
                  <c:v>4.1377598168349996</c:v>
                </c:pt>
                <c:pt idx="163">
                  <c:v>4.1688089712760004</c:v>
                </c:pt>
                <c:pt idx="164">
                  <c:v>5.6036535821350002</c:v>
                </c:pt>
                <c:pt idx="165">
                  <c:v>4.2348955392430003</c:v>
                </c:pt>
                <c:pt idx="166">
                  <c:v>4.244241978382</c:v>
                </c:pt>
                <c:pt idx="167">
                  <c:v>4.2500743763009998</c:v>
                </c:pt>
                <c:pt idx="168">
                  <c:v>8.5111211983650001</c:v>
                </c:pt>
                <c:pt idx="169">
                  <c:v>4.2622717908640002</c:v>
                </c:pt>
                <c:pt idx="170">
                  <c:v>7.1521549442839998</c:v>
                </c:pt>
                <c:pt idx="171">
                  <c:v>2.8781119585549999</c:v>
                </c:pt>
                <c:pt idx="172">
                  <c:v>4.3449923962629997</c:v>
                </c:pt>
                <c:pt idx="173">
                  <c:v>0</c:v>
                </c:pt>
                <c:pt idx="174">
                  <c:v>4.3623038780880004</c:v>
                </c:pt>
                <c:pt idx="175">
                  <c:v>5.850775959161</c:v>
                </c:pt>
                <c:pt idx="176">
                  <c:v>2.9416090601549998</c:v>
                </c:pt>
                <c:pt idx="177">
                  <c:v>0</c:v>
                </c:pt>
                <c:pt idx="178">
                  <c:v>10.433590198387</c:v>
                </c:pt>
                <c:pt idx="179">
                  <c:v>3.0016509079990001</c:v>
                </c:pt>
                <c:pt idx="180">
                  <c:v>1.5037367859120001</c:v>
                </c:pt>
                <c:pt idx="181">
                  <c:v>0</c:v>
                </c:pt>
                <c:pt idx="182">
                  <c:v>0</c:v>
                </c:pt>
                <c:pt idx="183">
                  <c:v>3.0577766905680002</c:v>
                </c:pt>
                <c:pt idx="184">
                  <c:v>10.779180782259999</c:v>
                </c:pt>
                <c:pt idx="185">
                  <c:v>0</c:v>
                </c:pt>
                <c:pt idx="186">
                  <c:v>7.8054263323860003</c:v>
                </c:pt>
                <c:pt idx="187">
                  <c:v>1.5659499835570001</c:v>
                </c:pt>
                <c:pt idx="188">
                  <c:v>1.5695137646349999</c:v>
                </c:pt>
                <c:pt idx="189">
                  <c:v>14.196255343312</c:v>
                </c:pt>
                <c:pt idx="190">
                  <c:v>1.5869237483130001</c:v>
                </c:pt>
                <c:pt idx="191">
                  <c:v>4.7907251560970003</c:v>
                </c:pt>
                <c:pt idx="192">
                  <c:v>3.2107367035359999</c:v>
                </c:pt>
                <c:pt idx="193">
                  <c:v>9.6855427132430005</c:v>
                </c:pt>
                <c:pt idx="194">
                  <c:v>6.4713400527409997</c:v>
                </c:pt>
                <c:pt idx="195">
                  <c:v>1.620850622406</c:v>
                </c:pt>
                <c:pt idx="196">
                  <c:v>6.5126426675779996</c:v>
                </c:pt>
                <c:pt idx="197">
                  <c:v>4.9086982132330004</c:v>
                </c:pt>
                <c:pt idx="198">
                  <c:v>4.9354281483909999</c:v>
                </c:pt>
                <c:pt idx="199">
                  <c:v>0</c:v>
                </c:pt>
                <c:pt idx="200">
                  <c:v>4.9906010347169998</c:v>
                </c:pt>
                <c:pt idx="201">
                  <c:v>1.667389201987</c:v>
                </c:pt>
                <c:pt idx="202">
                  <c:v>1.67045302686</c:v>
                </c:pt>
                <c:pt idx="203">
                  <c:v>6.7248365024119998</c:v>
                </c:pt>
                <c:pt idx="204">
                  <c:v>3.380034138344</c:v>
                </c:pt>
                <c:pt idx="205">
                  <c:v>3.4011870142670002</c:v>
                </c:pt>
                <c:pt idx="206">
                  <c:v>6.8393605197909997</c:v>
                </c:pt>
                <c:pt idx="207">
                  <c:v>1.720755755928</c:v>
                </c:pt>
                <c:pt idx="208">
                  <c:v>3.4471466243809998</c:v>
                </c:pt>
                <c:pt idx="209">
                  <c:v>3.452025475948</c:v>
                </c:pt>
                <c:pt idx="210">
                  <c:v>0</c:v>
                </c:pt>
                <c:pt idx="211">
                  <c:v>1.74383119714</c:v>
                </c:pt>
                <c:pt idx="212">
                  <c:v>5.259559248934</c:v>
                </c:pt>
                <c:pt idx="213">
                  <c:v>14.098903810228</c:v>
                </c:pt>
                <c:pt idx="214">
                  <c:v>8.8720123498410004</c:v>
                </c:pt>
                <c:pt idx="215">
                  <c:v>10.6588975147</c:v>
                </c:pt>
                <c:pt idx="216">
                  <c:v>1.7781571179619999</c:v>
                </c:pt>
                <c:pt idx="217">
                  <c:v>7.148857076474</c:v>
                </c:pt>
                <c:pt idx="218">
                  <c:v>8.9773053720189999</c:v>
                </c:pt>
                <c:pt idx="219">
                  <c:v>1.8031013342940001</c:v>
                </c:pt>
                <c:pt idx="220">
                  <c:v>5.4308472121650002</c:v>
                </c:pt>
                <c:pt idx="221">
                  <c:v>1.818082650037</c:v>
                </c:pt>
                <c:pt idx="222">
                  <c:v>1.819372680299</c:v>
                </c:pt>
                <c:pt idx="223">
                  <c:v>3.6412627899349999</c:v>
                </c:pt>
                <c:pt idx="224">
                  <c:v>3.6505010312659998</c:v>
                </c:pt>
                <c:pt idx="225">
                  <c:v>7.3213141758939999</c:v>
                </c:pt>
                <c:pt idx="226">
                  <c:v>5.5020632737269999</c:v>
                </c:pt>
                <c:pt idx="227">
                  <c:v>11.029209021891999</c:v>
                </c:pt>
                <c:pt idx="228">
                  <c:v>16.582525702914001</c:v>
                </c:pt>
                <c:pt idx="229">
                  <c:v>3.6857527228490001</c:v>
                </c:pt>
                <c:pt idx="230">
                  <c:v>9.2140422003129991</c:v>
                </c:pt>
                <c:pt idx="231">
                  <c:v>18.465515649524001</c:v>
                </c:pt>
                <c:pt idx="232">
                  <c:v>16.644166219738999</c:v>
                </c:pt>
                <c:pt idx="233">
                  <c:v>16.670062420122001</c:v>
                </c:pt>
                <c:pt idx="234">
                  <c:v>11.130486402255</c:v>
                </c:pt>
                <c:pt idx="235">
                  <c:v>16.731112433075001</c:v>
                </c:pt>
                <c:pt idx="236">
                  <c:v>13.013329367366</c:v>
                </c:pt>
                <c:pt idx="237">
                  <c:v>11.153867603590999</c:v>
                </c:pt>
                <c:pt idx="238">
                  <c:v>11.167361524717</c:v>
                </c:pt>
                <c:pt idx="239">
                  <c:v>16.777897915812002</c:v>
                </c:pt>
                <c:pt idx="240">
                  <c:v>26.135493867493</c:v>
                </c:pt>
                <c:pt idx="241">
                  <c:v>35.527299925205</c:v>
                </c:pt>
                <c:pt idx="242">
                  <c:v>31.859667534998</c:v>
                </c:pt>
                <c:pt idx="243">
                  <c:v>13.12483593955</c:v>
                </c:pt>
                <c:pt idx="244">
                  <c:v>11.254290698328001</c:v>
                </c:pt>
                <c:pt idx="245">
                  <c:v>16.915703411332998</c:v>
                </c:pt>
                <c:pt idx="246">
                  <c:v>30.121048965530001</c:v>
                </c:pt>
                <c:pt idx="247">
                  <c:v>24.507955659452001</c:v>
                </c:pt>
                <c:pt idx="248">
                  <c:v>18.889665464023999</c:v>
                </c:pt>
                <c:pt idx="249">
                  <c:v>17.043195030961002</c:v>
                </c:pt>
                <c:pt idx="250">
                  <c:v>13.262850755035</c:v>
                </c:pt>
                <c:pt idx="251">
                  <c:v>9.4775949655009999</c:v>
                </c:pt>
                <c:pt idx="252">
                  <c:v>34.175701076533997</c:v>
                </c:pt>
                <c:pt idx="253">
                  <c:v>51.275234061947998</c:v>
                </c:pt>
                <c:pt idx="254">
                  <c:v>28.548046362027002</c:v>
                </c:pt>
                <c:pt idx="255">
                  <c:v>45.749142203582998</c:v>
                </c:pt>
                <c:pt idx="256">
                  <c:v>22.913444463537999</c:v>
                </c:pt>
                <c:pt idx="257">
                  <c:v>17.192305488165001</c:v>
                </c:pt>
                <c:pt idx="258">
                  <c:v>28.662602946515001</c:v>
                </c:pt>
                <c:pt idx="259">
                  <c:v>97.602051556847996</c:v>
                </c:pt>
                <c:pt idx="260">
                  <c:v>82.419688721919002</c:v>
                </c:pt>
                <c:pt idx="261">
                  <c:v>80.611108978542006</c:v>
                </c:pt>
                <c:pt idx="262">
                  <c:v>107.63435073422001</c:v>
                </c:pt>
                <c:pt idx="263">
                  <c:v>98.216692986172006</c:v>
                </c:pt>
                <c:pt idx="264">
                  <c:v>63.578914919851997</c:v>
                </c:pt>
                <c:pt idx="265">
                  <c:v>34.688096201653003</c:v>
                </c:pt>
                <c:pt idx="266">
                  <c:v>121.600494122642</c:v>
                </c:pt>
                <c:pt idx="267">
                  <c:v>143.020042132931</c:v>
                </c:pt>
                <c:pt idx="268">
                  <c:v>150.92587217739501</c:v>
                </c:pt>
                <c:pt idx="269">
                  <c:v>83.333333333333002</c:v>
                </c:pt>
                <c:pt idx="270">
                  <c:v>168.97797459503499</c:v>
                </c:pt>
                <c:pt idx="271">
                  <c:v>128.25495530509099</c:v>
                </c:pt>
                <c:pt idx="272">
                  <c:v>68.033822528914001</c:v>
                </c:pt>
                <c:pt idx="273">
                  <c:v>227.78599797523501</c:v>
                </c:pt>
                <c:pt idx="274">
                  <c:v>243.61248075461401</c:v>
                </c:pt>
                <c:pt idx="275">
                  <c:v>234.274335246573</c:v>
                </c:pt>
                <c:pt idx="276">
                  <c:v>191.747050421647</c:v>
                </c:pt>
                <c:pt idx="277">
                  <c:v>202.12724204246601</c:v>
                </c:pt>
                <c:pt idx="278">
                  <c:v>108.042273995206</c:v>
                </c:pt>
                <c:pt idx="279">
                  <c:v>51.122733886507</c:v>
                </c:pt>
                <c:pt idx="280">
                  <c:v>236.443883984867</c:v>
                </c:pt>
                <c:pt idx="281">
                  <c:v>239.163520645148</c:v>
                </c:pt>
                <c:pt idx="282">
                  <c:v>281.62868646000601</c:v>
                </c:pt>
                <c:pt idx="283">
                  <c:v>216.42013302888901</c:v>
                </c:pt>
                <c:pt idx="284">
                  <c:v>318.655274740594</c:v>
                </c:pt>
                <c:pt idx="285">
                  <c:v>179.48666812914999</c:v>
                </c:pt>
                <c:pt idx="286">
                  <c:v>87.845392109886006</c:v>
                </c:pt>
                <c:pt idx="287">
                  <c:v>326.489734601902</c:v>
                </c:pt>
                <c:pt idx="288">
                  <c:v>407.85164647499602</c:v>
                </c:pt>
                <c:pt idx="289">
                  <c:v>251.90947381149101</c:v>
                </c:pt>
                <c:pt idx="290">
                  <c:v>327.68978700163802</c:v>
                </c:pt>
                <c:pt idx="291">
                  <c:v>583.22664553232096</c:v>
                </c:pt>
                <c:pt idx="292">
                  <c:v>309.36437832006999</c:v>
                </c:pt>
                <c:pt idx="293">
                  <c:v>158.930681771873</c:v>
                </c:pt>
                <c:pt idx="294">
                  <c:v>372.13486821927302</c:v>
                </c:pt>
                <c:pt idx="295">
                  <c:v>436.68122270742299</c:v>
                </c:pt>
                <c:pt idx="296">
                  <c:v>292.05487340860901</c:v>
                </c:pt>
                <c:pt idx="297">
                  <c:v>433.508112794682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BBF-4B7D-8698-1A7B4E221FDF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299</c:f>
              <c:numCache>
                <c:formatCode>m/d/yyyy</c:formatCode>
                <c:ptCount val="29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</c:numCache>
            </c:numRef>
          </c:cat>
          <c:val>
            <c:numRef>
              <c:f>List1!$C$2:$C$299</c:f>
              <c:numCache>
                <c:formatCode>General</c:formatCode>
                <c:ptCount val="29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2.852644431590999</c:v>
                </c:pt>
                <c:pt idx="9">
                  <c:v>10.290712631849001</c:v>
                </c:pt>
                <c:pt idx="10">
                  <c:v>12.484914062173999</c:v>
                </c:pt>
                <c:pt idx="11">
                  <c:v>20.27027027027</c:v>
                </c:pt>
                <c:pt idx="12">
                  <c:v>3.3097239690200002</c:v>
                </c:pt>
                <c:pt idx="13">
                  <c:v>0</c:v>
                </c:pt>
                <c:pt idx="14">
                  <c:v>8.3658672615719993</c:v>
                </c:pt>
                <c:pt idx="15">
                  <c:v>14.279934312302</c:v>
                </c:pt>
                <c:pt idx="16">
                  <c:v>4.1892712762609996</c:v>
                </c:pt>
                <c:pt idx="17">
                  <c:v>18.547369982936001</c:v>
                </c:pt>
                <c:pt idx="18">
                  <c:v>10.183817913335</c:v>
                </c:pt>
                <c:pt idx="19">
                  <c:v>6.7051092932809997</c:v>
                </c:pt>
                <c:pt idx="20">
                  <c:v>1.658732396702</c:v>
                </c:pt>
                <c:pt idx="21">
                  <c:v>13.904982618770999</c:v>
                </c:pt>
                <c:pt idx="22">
                  <c:v>20.457966185903999</c:v>
                </c:pt>
                <c:pt idx="23">
                  <c:v>19.477176922327001</c:v>
                </c:pt>
                <c:pt idx="24">
                  <c:v>14.654161781946</c:v>
                </c:pt>
                <c:pt idx="25">
                  <c:v>26.933090508008998</c:v>
                </c:pt>
                <c:pt idx="26">
                  <c:v>11.488530616934</c:v>
                </c:pt>
                <c:pt idx="27">
                  <c:v>14.023099869967</c:v>
                </c:pt>
                <c:pt idx="28">
                  <c:v>24.853982850750999</c:v>
                </c:pt>
                <c:pt idx="29">
                  <c:v>15.839171489490999</c:v>
                </c:pt>
                <c:pt idx="30">
                  <c:v>22.792706333973001</c:v>
                </c:pt>
                <c:pt idx="31">
                  <c:v>12.971239225027</c:v>
                </c:pt>
                <c:pt idx="32">
                  <c:v>18.584338049109</c:v>
                </c:pt>
                <c:pt idx="33">
                  <c:v>10.442410108252</c:v>
                </c:pt>
                <c:pt idx="34">
                  <c:v>4.6361223472680004</c:v>
                </c:pt>
                <c:pt idx="35">
                  <c:v>16.056703100090001</c:v>
                </c:pt>
                <c:pt idx="36">
                  <c:v>19.258436894633</c:v>
                </c:pt>
                <c:pt idx="37">
                  <c:v>6.7329488071450001</c:v>
                </c:pt>
                <c:pt idx="38">
                  <c:v>16.667777851855998</c:v>
                </c:pt>
                <c:pt idx="39">
                  <c:v>17.577974797578001</c:v>
                </c:pt>
                <c:pt idx="40">
                  <c:v>7.6869015198100001</c:v>
                </c:pt>
                <c:pt idx="41">
                  <c:v>8.7808840154979997</c:v>
                </c:pt>
                <c:pt idx="42">
                  <c:v>21.818578519609002</c:v>
                </c:pt>
                <c:pt idx="43">
                  <c:v>11.919726063022001</c:v>
                </c:pt>
                <c:pt idx="44">
                  <c:v>8.6044635654739992</c:v>
                </c:pt>
                <c:pt idx="45">
                  <c:v>13.890521321950001</c:v>
                </c:pt>
                <c:pt idx="46">
                  <c:v>16.932471188341001</c:v>
                </c:pt>
                <c:pt idx="47">
                  <c:v>3.173965022905</c:v>
                </c:pt>
                <c:pt idx="48">
                  <c:v>4.2302973899060001</c:v>
                </c:pt>
                <c:pt idx="49">
                  <c:v>14.678129586915</c:v>
                </c:pt>
                <c:pt idx="50">
                  <c:v>14.561188192955999</c:v>
                </c:pt>
                <c:pt idx="51">
                  <c:v>16.494165189063999</c:v>
                </c:pt>
                <c:pt idx="52">
                  <c:v>10.175734942456</c:v>
                </c:pt>
                <c:pt idx="53">
                  <c:v>8.0243136704209999</c:v>
                </c:pt>
                <c:pt idx="54">
                  <c:v>8.0100927168229994</c:v>
                </c:pt>
                <c:pt idx="55">
                  <c:v>3.9959241573590001</c:v>
                </c:pt>
                <c:pt idx="56">
                  <c:v>9.8529933393760007</c:v>
                </c:pt>
                <c:pt idx="57">
                  <c:v>5.8322073932940004</c:v>
                </c:pt>
                <c:pt idx="58">
                  <c:v>11.486331265793</c:v>
                </c:pt>
                <c:pt idx="59">
                  <c:v>4.711469601598</c:v>
                </c:pt>
                <c:pt idx="60">
                  <c:v>2.7707482867529998</c:v>
                </c:pt>
                <c:pt idx="61">
                  <c:v>8.2943193128610009</c:v>
                </c:pt>
                <c:pt idx="62">
                  <c:v>0.92025104448399997</c:v>
                </c:pt>
                <c:pt idx="63">
                  <c:v>1.813417475904</c:v>
                </c:pt>
                <c:pt idx="64">
                  <c:v>8.0394468860539998</c:v>
                </c:pt>
                <c:pt idx="65">
                  <c:v>6.1543871988739998</c:v>
                </c:pt>
                <c:pt idx="66">
                  <c:v>8.6484990529889991</c:v>
                </c:pt>
                <c:pt idx="67">
                  <c:v>4.2389046670340003</c:v>
                </c:pt>
                <c:pt idx="68">
                  <c:v>4.2259354108030003</c:v>
                </c:pt>
                <c:pt idx="69">
                  <c:v>1.687664019846</c:v>
                </c:pt>
                <c:pt idx="70">
                  <c:v>7.4874585070000004</c:v>
                </c:pt>
                <c:pt idx="71">
                  <c:v>4.099671206369</c:v>
                </c:pt>
                <c:pt idx="72">
                  <c:v>4.0380220152959998</c:v>
                </c:pt>
                <c:pt idx="73">
                  <c:v>4.7591097292060001</c:v>
                </c:pt>
                <c:pt idx="74">
                  <c:v>3.942626893446</c:v>
                </c:pt>
                <c:pt idx="75">
                  <c:v>4.7129055062439997</c:v>
                </c:pt>
                <c:pt idx="76">
                  <c:v>3.1332738011310002</c:v>
                </c:pt>
                <c:pt idx="77">
                  <c:v>5.4707587942440004</c:v>
                </c:pt>
                <c:pt idx="78">
                  <c:v>5.3801457250890001</c:v>
                </c:pt>
                <c:pt idx="79">
                  <c:v>9.1132088367739996</c:v>
                </c:pt>
                <c:pt idx="80">
                  <c:v>2.996591377308</c:v>
                </c:pt>
                <c:pt idx="81">
                  <c:v>3.6908540636299998</c:v>
                </c:pt>
                <c:pt idx="82">
                  <c:v>0.73418204777999996</c:v>
                </c:pt>
                <c:pt idx="83">
                  <c:v>0.73220378695699995</c:v>
                </c:pt>
                <c:pt idx="84">
                  <c:v>5.0833672224480004</c:v>
                </c:pt>
                <c:pt idx="85">
                  <c:v>5.0363697846589996</c:v>
                </c:pt>
                <c:pt idx="86">
                  <c:v>2.1381227282439998</c:v>
                </c:pt>
                <c:pt idx="87">
                  <c:v>7.0662389236700003</c:v>
                </c:pt>
                <c:pt idx="88">
                  <c:v>4.196948818209</c:v>
                </c:pt>
                <c:pt idx="89">
                  <c:v>1.3965797761280001</c:v>
                </c:pt>
                <c:pt idx="90">
                  <c:v>2.7889335118249998</c:v>
                </c:pt>
                <c:pt idx="91">
                  <c:v>4.8566928696809999</c:v>
                </c:pt>
                <c:pt idx="92">
                  <c:v>7.59673754653</c:v>
                </c:pt>
                <c:pt idx="93">
                  <c:v>5.5030094582969999</c:v>
                </c:pt>
                <c:pt idx="94">
                  <c:v>2.0545693622610002</c:v>
                </c:pt>
                <c:pt idx="95">
                  <c:v>2.728773552726</c:v>
                </c:pt>
                <c:pt idx="96">
                  <c:v>0</c:v>
                </c:pt>
                <c:pt idx="97">
                  <c:v>0</c:v>
                </c:pt>
                <c:pt idx="98">
                  <c:v>2.717742099863</c:v>
                </c:pt>
                <c:pt idx="99">
                  <c:v>2.0329472992289999</c:v>
                </c:pt>
                <c:pt idx="100">
                  <c:v>4.052329076136</c:v>
                </c:pt>
                <c:pt idx="101">
                  <c:v>4.0408666311959998</c:v>
                </c:pt>
                <c:pt idx="102">
                  <c:v>1.343228449578</c:v>
                </c:pt>
                <c:pt idx="103">
                  <c:v>1.3427324605569999</c:v>
                </c:pt>
                <c:pt idx="104">
                  <c:v>0.67111391487500005</c:v>
                </c:pt>
                <c:pt idx="105">
                  <c:v>4.6910287426029997</c:v>
                </c:pt>
                <c:pt idx="106">
                  <c:v>2.0078977310749999</c:v>
                </c:pt>
                <c:pt idx="107">
                  <c:v>2.0045972096</c:v>
                </c:pt>
                <c:pt idx="108">
                  <c:v>2.6676448030939999</c:v>
                </c:pt>
                <c:pt idx="109">
                  <c:v>0.66527845229600002</c:v>
                </c:pt>
                <c:pt idx="110">
                  <c:v>0.66515454865900003</c:v>
                </c:pt>
                <c:pt idx="111">
                  <c:v>0</c:v>
                </c:pt>
                <c:pt idx="112">
                  <c:v>1.991661576864</c:v>
                </c:pt>
                <c:pt idx="113">
                  <c:v>1.3261368307979999</c:v>
                </c:pt>
                <c:pt idx="114">
                  <c:v>0.66164259390299995</c:v>
                </c:pt>
                <c:pt idx="115">
                  <c:v>1.980707905005</c:v>
                </c:pt>
                <c:pt idx="116">
                  <c:v>2.6352544338150001</c:v>
                </c:pt>
                <c:pt idx="117">
                  <c:v>0.65692231893499997</c:v>
                </c:pt>
                <c:pt idx="118">
                  <c:v>0</c:v>
                </c:pt>
                <c:pt idx="119">
                  <c:v>1.310263952673</c:v>
                </c:pt>
                <c:pt idx="120">
                  <c:v>0</c:v>
                </c:pt>
                <c:pt idx="121">
                  <c:v>0</c:v>
                </c:pt>
                <c:pt idx="122">
                  <c:v>1.2914140337960001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.63860630559800002</c:v>
                </c:pt>
                <c:pt idx="127">
                  <c:v>0.63597049096900005</c:v>
                </c:pt>
                <c:pt idx="128">
                  <c:v>0</c:v>
                </c:pt>
                <c:pt idx="129">
                  <c:v>0</c:v>
                </c:pt>
                <c:pt idx="131">
                  <c:v>0.62556692002100001</c:v>
                </c:pt>
                <c:pt idx="132">
                  <c:v>0.62465253702599999</c:v>
                </c:pt>
                <c:pt idx="133">
                  <c:v>0</c:v>
                </c:pt>
                <c:pt idx="135">
                  <c:v>0</c:v>
                </c:pt>
                <c:pt idx="136">
                  <c:v>0.61574079775299995</c:v>
                </c:pt>
                <c:pt idx="137">
                  <c:v>0</c:v>
                </c:pt>
                <c:pt idx="138">
                  <c:v>0.61204379785399998</c:v>
                </c:pt>
                <c:pt idx="139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.59859091698099998</c:v>
                </c:pt>
                <c:pt idx="148">
                  <c:v>0</c:v>
                </c:pt>
                <c:pt idx="150">
                  <c:v>0.59297209473300005</c:v>
                </c:pt>
                <c:pt idx="151">
                  <c:v>1.181683899556</c:v>
                </c:pt>
                <c:pt idx="153">
                  <c:v>0.58951488819800002</c:v>
                </c:pt>
                <c:pt idx="154">
                  <c:v>1.175834254403</c:v>
                </c:pt>
                <c:pt idx="155">
                  <c:v>0</c:v>
                </c:pt>
                <c:pt idx="156">
                  <c:v>0.584269137735</c:v>
                </c:pt>
                <c:pt idx="157">
                  <c:v>1.7471419669320001</c:v>
                </c:pt>
                <c:pt idx="158">
                  <c:v>1.160651589802</c:v>
                </c:pt>
                <c:pt idx="159">
                  <c:v>0</c:v>
                </c:pt>
                <c:pt idx="161">
                  <c:v>2.8884203229250001</c:v>
                </c:pt>
                <c:pt idx="162">
                  <c:v>0.57595060647499996</c:v>
                </c:pt>
                <c:pt idx="163">
                  <c:v>2.2964617265939999</c:v>
                </c:pt>
                <c:pt idx="164">
                  <c:v>0.57215766376499999</c:v>
                </c:pt>
                <c:pt idx="165">
                  <c:v>2.8517164481299999</c:v>
                </c:pt>
                <c:pt idx="166">
                  <c:v>0</c:v>
                </c:pt>
                <c:pt idx="167">
                  <c:v>0.56942419825000001</c:v>
                </c:pt>
                <c:pt idx="168">
                  <c:v>2.2763228281029999</c:v>
                </c:pt>
                <c:pt idx="169">
                  <c:v>2.8433647240790001</c:v>
                </c:pt>
                <c:pt idx="170">
                  <c:v>1.134185484694</c:v>
                </c:pt>
                <c:pt idx="171">
                  <c:v>2.828502251487</c:v>
                </c:pt>
                <c:pt idx="172">
                  <c:v>1.6926965784950001</c:v>
                </c:pt>
                <c:pt idx="173">
                  <c:v>0.56366290703499999</c:v>
                </c:pt>
                <c:pt idx="174">
                  <c:v>0</c:v>
                </c:pt>
                <c:pt idx="175">
                  <c:v>2.809714870134</c:v>
                </c:pt>
                <c:pt idx="176">
                  <c:v>1.682123512722</c:v>
                </c:pt>
                <c:pt idx="177">
                  <c:v>1.118336809496</c:v>
                </c:pt>
                <c:pt idx="178">
                  <c:v>0.55780225909900005</c:v>
                </c:pt>
                <c:pt idx="179">
                  <c:v>1.112650277328</c:v>
                </c:pt>
                <c:pt idx="180">
                  <c:v>0.55587981878299997</c:v>
                </c:pt>
                <c:pt idx="181">
                  <c:v>0.55538585432200005</c:v>
                </c:pt>
                <c:pt idx="182">
                  <c:v>1.1080823526800001</c:v>
                </c:pt>
                <c:pt idx="183">
                  <c:v>2.2104821061469999</c:v>
                </c:pt>
                <c:pt idx="184">
                  <c:v>2.2049258042459998</c:v>
                </c:pt>
                <c:pt idx="185">
                  <c:v>1.6495570939199999</c:v>
                </c:pt>
                <c:pt idx="186">
                  <c:v>0.54863061797699997</c:v>
                </c:pt>
                <c:pt idx="187">
                  <c:v>0</c:v>
                </c:pt>
                <c:pt idx="188">
                  <c:v>1.095326242921</c:v>
                </c:pt>
                <c:pt idx="189">
                  <c:v>1.640240568616</c:v>
                </c:pt>
                <c:pt idx="190">
                  <c:v>1.0912801261509999</c:v>
                </c:pt>
                <c:pt idx="191">
                  <c:v>2.1780086466939999</c:v>
                </c:pt>
                <c:pt idx="192">
                  <c:v>1.087116044202</c:v>
                </c:pt>
                <c:pt idx="193">
                  <c:v>1.6277366322119999</c:v>
                </c:pt>
                <c:pt idx="194">
                  <c:v>0.54220819710299994</c:v>
                </c:pt>
                <c:pt idx="195">
                  <c:v>0.54190262009900003</c:v>
                </c:pt>
                <c:pt idx="196">
                  <c:v>1.623367838918</c:v>
                </c:pt>
                <c:pt idx="197">
                  <c:v>0.54026894588100005</c:v>
                </c:pt>
                <c:pt idx="198">
                  <c:v>0</c:v>
                </c:pt>
                <c:pt idx="199">
                  <c:v>1.6154827870299999</c:v>
                </c:pt>
                <c:pt idx="200">
                  <c:v>0.53745236828300003</c:v>
                </c:pt>
                <c:pt idx="201">
                  <c:v>0.53708288800199999</c:v>
                </c:pt>
                <c:pt idx="202">
                  <c:v>1.0735949326309999</c:v>
                </c:pt>
                <c:pt idx="203">
                  <c:v>2.1429107156249998</c:v>
                </c:pt>
                <c:pt idx="204">
                  <c:v>1.6046127267179999</c:v>
                </c:pt>
                <c:pt idx="205">
                  <c:v>2.135406100855</c:v>
                </c:pt>
                <c:pt idx="206">
                  <c:v>0.53297801465600003</c:v>
                </c:pt>
                <c:pt idx="207">
                  <c:v>1.5958720110639999</c:v>
                </c:pt>
                <c:pt idx="208">
                  <c:v>0.53171974115800003</c:v>
                </c:pt>
                <c:pt idx="209">
                  <c:v>0</c:v>
                </c:pt>
                <c:pt idx="210">
                  <c:v>0.53058842256000005</c:v>
                </c:pt>
                <c:pt idx="211">
                  <c:v>3.1794817444749999</c:v>
                </c:pt>
                <c:pt idx="212">
                  <c:v>2.6449988362000001</c:v>
                </c:pt>
                <c:pt idx="213">
                  <c:v>2.1124566286239999</c:v>
                </c:pt>
                <c:pt idx="214">
                  <c:v>4.2158960360029996</c:v>
                </c:pt>
                <c:pt idx="215">
                  <c:v>1.5802365087300001</c:v>
                </c:pt>
                <c:pt idx="216">
                  <c:v>1.053086068724</c:v>
                </c:pt>
                <c:pt idx="217">
                  <c:v>1.5770963553299999</c:v>
                </c:pt>
                <c:pt idx="218">
                  <c:v>3.6745213935879999</c:v>
                </c:pt>
                <c:pt idx="219">
                  <c:v>0.52422715811200005</c:v>
                </c:pt>
                <c:pt idx="220">
                  <c:v>2.0942737320479998</c:v>
                </c:pt>
                <c:pt idx="221">
                  <c:v>2.0914595250289998</c:v>
                </c:pt>
                <c:pt idx="222">
                  <c:v>1.568102700272</c:v>
                </c:pt>
                <c:pt idx="223">
                  <c:v>1.567627448111</c:v>
                </c:pt>
                <c:pt idx="224">
                  <c:v>3.6547608481129998</c:v>
                </c:pt>
                <c:pt idx="225">
                  <c:v>3.1298251471010001</c:v>
                </c:pt>
                <c:pt idx="226">
                  <c:v>2.6064201340739999</c:v>
                </c:pt>
                <c:pt idx="227">
                  <c:v>5.208930189917</c:v>
                </c:pt>
                <c:pt idx="228">
                  <c:v>1.5614834092380001</c:v>
                </c:pt>
                <c:pt idx="229">
                  <c:v>1.561223374636</c:v>
                </c:pt>
                <c:pt idx="230">
                  <c:v>2.081436190971</c:v>
                </c:pt>
                <c:pt idx="231">
                  <c:v>4.1600582408150002</c:v>
                </c:pt>
                <c:pt idx="232">
                  <c:v>5.1972890940080001</c:v>
                </c:pt>
                <c:pt idx="233">
                  <c:v>4.1555851063820004</c:v>
                </c:pt>
                <c:pt idx="234">
                  <c:v>4.1533629260440001</c:v>
                </c:pt>
                <c:pt idx="235">
                  <c:v>3.1128566166359999</c:v>
                </c:pt>
                <c:pt idx="236">
                  <c:v>2.075000907812</c:v>
                </c:pt>
                <c:pt idx="237">
                  <c:v>2.0748071726080002</c:v>
                </c:pt>
                <c:pt idx="238">
                  <c:v>6.2216784014430004</c:v>
                </c:pt>
                <c:pt idx="239">
                  <c:v>5.1818572812859998</c:v>
                </c:pt>
                <c:pt idx="240">
                  <c:v>5.1793076301559999</c:v>
                </c:pt>
                <c:pt idx="241">
                  <c:v>9.317590057096</c:v>
                </c:pt>
                <c:pt idx="242">
                  <c:v>2.0691617308530001</c:v>
                </c:pt>
                <c:pt idx="243">
                  <c:v>3.6207333536780002</c:v>
                </c:pt>
                <c:pt idx="244">
                  <c:v>5.1721551853439998</c:v>
                </c:pt>
                <c:pt idx="245">
                  <c:v>5.1695081729919998</c:v>
                </c:pt>
                <c:pt idx="246">
                  <c:v>6.2009415096189997</c:v>
                </c:pt>
                <c:pt idx="247">
                  <c:v>7.231965286566</c:v>
                </c:pt>
                <c:pt idx="248">
                  <c:v>10.326258125474</c:v>
                </c:pt>
                <c:pt idx="249">
                  <c:v>8.2557635549310007</c:v>
                </c:pt>
                <c:pt idx="250">
                  <c:v>3.6115424897969999</c:v>
                </c:pt>
                <c:pt idx="251">
                  <c:v>2.5794868884679998</c:v>
                </c:pt>
                <c:pt idx="252">
                  <c:v>11.345177010544999</c:v>
                </c:pt>
                <c:pt idx="253">
                  <c:v>17.017502243216001</c:v>
                </c:pt>
                <c:pt idx="254">
                  <c:v>16.492890018192998</c:v>
                </c:pt>
                <c:pt idx="255">
                  <c:v>11.334538916108</c:v>
                </c:pt>
                <c:pt idx="256">
                  <c:v>12.874851295467</c:v>
                </c:pt>
                <c:pt idx="257">
                  <c:v>7.7243936350990001</c:v>
                </c:pt>
                <c:pt idx="258">
                  <c:v>8.2390562161100007</c:v>
                </c:pt>
                <c:pt idx="259">
                  <c:v>20.590112627916</c:v>
                </c:pt>
                <c:pt idx="260">
                  <c:v>29.844602243490002</c:v>
                </c:pt>
                <c:pt idx="261">
                  <c:v>24.176830366097999</c:v>
                </c:pt>
                <c:pt idx="262">
                  <c:v>32.396408626700001</c:v>
                </c:pt>
                <c:pt idx="263">
                  <c:v>28.269059771072001</c:v>
                </c:pt>
                <c:pt idx="264">
                  <c:v>22.099788253191001</c:v>
                </c:pt>
                <c:pt idx="265">
                  <c:v>13.362387961515999</c:v>
                </c:pt>
                <c:pt idx="266">
                  <c:v>57.539468479158998</c:v>
                </c:pt>
                <c:pt idx="267">
                  <c:v>51.358958029458996</c:v>
                </c:pt>
                <c:pt idx="268">
                  <c:v>44.157137795941999</c:v>
                </c:pt>
                <c:pt idx="269">
                  <c:v>27.716328510349001</c:v>
                </c:pt>
                <c:pt idx="270">
                  <c:v>58.480732137727003</c:v>
                </c:pt>
                <c:pt idx="271">
                  <c:v>37.444922622375003</c:v>
                </c:pt>
                <c:pt idx="272">
                  <c:v>31.801558276354999</c:v>
                </c:pt>
                <c:pt idx="273">
                  <c:v>95.377278670870993</c:v>
                </c:pt>
                <c:pt idx="274">
                  <c:v>74.854904534360998</c:v>
                </c:pt>
                <c:pt idx="275">
                  <c:v>72.780203784570006</c:v>
                </c:pt>
                <c:pt idx="276">
                  <c:v>74.796231499458997</c:v>
                </c:pt>
                <c:pt idx="277">
                  <c:v>92.667018221099994</c:v>
                </c:pt>
                <c:pt idx="278">
                  <c:v>53.237505822852</c:v>
                </c:pt>
                <c:pt idx="279">
                  <c:v>30.710329931311001</c:v>
                </c:pt>
                <c:pt idx="280">
                  <c:v>100.27832351015</c:v>
                </c:pt>
                <c:pt idx="281">
                  <c:v>112.480188148678</c:v>
                </c:pt>
                <c:pt idx="282">
                  <c:v>110.351592434785</c:v>
                </c:pt>
                <c:pt idx="283">
                  <c:v>79.174541553864003</c:v>
                </c:pt>
                <c:pt idx="284">
                  <c:v>110.26089974935999</c:v>
                </c:pt>
                <c:pt idx="285">
                  <c:v>77.573580071755003</c:v>
                </c:pt>
                <c:pt idx="286">
                  <c:v>43.883596209681002</c:v>
                </c:pt>
                <c:pt idx="287">
                  <c:v>115.240270865627</c:v>
                </c:pt>
                <c:pt idx="288">
                  <c:v>145.74065297927501</c:v>
                </c:pt>
                <c:pt idx="289">
                  <c:v>91.155845941527005</c:v>
                </c:pt>
                <c:pt idx="290">
                  <c:v>115.506345216409</c:v>
                </c:pt>
                <c:pt idx="291">
                  <c:v>143.34366898795301</c:v>
                </c:pt>
                <c:pt idx="292">
                  <c:v>87.914991792905994</c:v>
                </c:pt>
                <c:pt idx="293">
                  <c:v>64.528585655346006</c:v>
                </c:pt>
                <c:pt idx="294">
                  <c:v>137.08436781258999</c:v>
                </c:pt>
                <c:pt idx="295">
                  <c:v>150.205009540047</c:v>
                </c:pt>
                <c:pt idx="296">
                  <c:v>99.393496825493003</c:v>
                </c:pt>
                <c:pt idx="297">
                  <c:v>138.839625031668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BBF-4B7D-8698-1A7B4E221F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sz="16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3305263600732"/>
          <c:y val="0.15289779551144775"/>
          <c:w val="0.79684300815915377"/>
          <c:h val="0.8041653594074434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 posilujíc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B$2:$B$12</c:f>
              <c:numCache>
                <c:formatCode>General</c:formatCode>
                <c:ptCount val="11"/>
                <c:pt idx="0">
                  <c:v>48.281149999999997</c:v>
                </c:pt>
                <c:pt idx="1">
                  <c:v>31.51876</c:v>
                </c:pt>
                <c:pt idx="2">
                  <c:v>26.285810000000001</c:v>
                </c:pt>
                <c:pt idx="3">
                  <c:v>25.397939999999998</c:v>
                </c:pt>
                <c:pt idx="4">
                  <c:v>22.698070000000001</c:v>
                </c:pt>
                <c:pt idx="5">
                  <c:v>26.691369999999999</c:v>
                </c:pt>
                <c:pt idx="6">
                  <c:v>38.698250000000002</c:v>
                </c:pt>
                <c:pt idx="7">
                  <c:v>20.769400000000001</c:v>
                </c:pt>
                <c:pt idx="8">
                  <c:v>28.011510000000001</c:v>
                </c:pt>
                <c:pt idx="9">
                  <c:v>26.705459999999999</c:v>
                </c:pt>
                <c:pt idx="10">
                  <c:v>33.10215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DA-4934-90AD-68162997E19E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 ukončovací dávkou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C$2:$C$12</c:f>
              <c:numCache>
                <c:formatCode>General</c:formatCode>
                <c:ptCount val="11"/>
                <c:pt idx="0">
                  <c:v>38.06776</c:v>
                </c:pt>
                <c:pt idx="1">
                  <c:v>48.40258</c:v>
                </c:pt>
                <c:pt idx="2">
                  <c:v>50.977020000000003</c:v>
                </c:pt>
                <c:pt idx="3">
                  <c:v>50.557459999999999</c:v>
                </c:pt>
                <c:pt idx="4">
                  <c:v>53.051389999999998</c:v>
                </c:pt>
                <c:pt idx="5">
                  <c:v>51.659829999999999</c:v>
                </c:pt>
                <c:pt idx="6">
                  <c:v>44.941330000000001</c:v>
                </c:pt>
                <c:pt idx="7">
                  <c:v>51.5777</c:v>
                </c:pt>
                <c:pt idx="8">
                  <c:v>51.062080000000002</c:v>
                </c:pt>
                <c:pt idx="9">
                  <c:v>50.808970000000002</c:v>
                </c:pt>
                <c:pt idx="10">
                  <c:v>47.1856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DA-4934-90AD-68162997E19E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ouze s 1. dávkou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D$2:$D$12</c:f>
              <c:numCache>
                <c:formatCode>General</c:formatCode>
                <c:ptCount val="11"/>
                <c:pt idx="0">
                  <c:v>1.0679295</c:v>
                </c:pt>
                <c:pt idx="1">
                  <c:v>2.0064335999999998</c:v>
                </c:pt>
                <c:pt idx="2">
                  <c:v>2.0357259999999999</c:v>
                </c:pt>
                <c:pt idx="3">
                  <c:v>2.1036393000000002</c:v>
                </c:pt>
                <c:pt idx="4">
                  <c:v>2.3197716000000002</c:v>
                </c:pt>
                <c:pt idx="5">
                  <c:v>2.1211164999999998</c:v>
                </c:pt>
                <c:pt idx="6">
                  <c:v>1.6382555000000001</c:v>
                </c:pt>
                <c:pt idx="7">
                  <c:v>2.1288092000000001</c:v>
                </c:pt>
                <c:pt idx="8">
                  <c:v>1.8569275000000001</c:v>
                </c:pt>
                <c:pt idx="9">
                  <c:v>1.9869429000000001</c:v>
                </c:pt>
                <c:pt idx="10">
                  <c:v>1.82044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7DA-4934-90AD-68162997E19E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E$2:$E$12</c:f>
              <c:numCache>
                <c:formatCode>General</c:formatCode>
                <c:ptCount val="11"/>
                <c:pt idx="0">
                  <c:v>2.344843</c:v>
                </c:pt>
                <c:pt idx="1">
                  <c:v>7.1733339999999997</c:v>
                </c:pt>
                <c:pt idx="2">
                  <c:v>7.0079510000000003</c:v>
                </c:pt>
                <c:pt idx="3">
                  <c:v>6.3319539999999996</c:v>
                </c:pt>
                <c:pt idx="4">
                  <c:v>9.3504640000000006</c:v>
                </c:pt>
                <c:pt idx="5">
                  <c:v>7.4041949999999996</c:v>
                </c:pt>
                <c:pt idx="6">
                  <c:v>4.7376579999999997</c:v>
                </c:pt>
                <c:pt idx="7">
                  <c:v>8.3639510000000001</c:v>
                </c:pt>
                <c:pt idx="8">
                  <c:v>6.7150879999999997</c:v>
                </c:pt>
                <c:pt idx="9">
                  <c:v>6.3061780000000001</c:v>
                </c:pt>
                <c:pt idx="10">
                  <c:v>6.099787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7DA-4934-90AD-68162997E19E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Ostatní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F$2:$F$12</c:f>
              <c:numCache>
                <c:formatCode>General</c:formatCode>
                <c:ptCount val="11"/>
                <c:pt idx="0">
                  <c:v>10.23832</c:v>
                </c:pt>
                <c:pt idx="1">
                  <c:v>10.89889</c:v>
                </c:pt>
                <c:pt idx="2">
                  <c:v>13.6935</c:v>
                </c:pt>
                <c:pt idx="3">
                  <c:v>15.609</c:v>
                </c:pt>
                <c:pt idx="4">
                  <c:v>12.580299999999999</c:v>
                </c:pt>
                <c:pt idx="5">
                  <c:v>12.123480000000001</c:v>
                </c:pt>
                <c:pt idx="6">
                  <c:v>9.9845030000000001</c:v>
                </c:pt>
                <c:pt idx="7">
                  <c:v>17.160150000000002</c:v>
                </c:pt>
                <c:pt idx="8">
                  <c:v>12.35439</c:v>
                </c:pt>
                <c:pt idx="9">
                  <c:v>14.192449999999999</c:v>
                </c:pt>
                <c:pt idx="10">
                  <c:v>11.79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7DA-4934-90AD-68162997E1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1.368428679273505E-2"/>
          <c:y val="5.0081916086988656E-2"/>
          <c:w val="0.98087724341670113"/>
          <c:h val="4.2435842974244235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46373336375452E-2"/>
          <c:y val="2.9235580326475268E-2"/>
          <c:w val="0.7481746992431868"/>
          <c:h val="0.84252851457794231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racovníci v zařízeních sociálních služeb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0"/>
                  <c:y val="-1.663132121161326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l">
                    <a:defRPr sz="1197" b="1" i="0" u="none" strike="noStrike" kern="1200" baseline="0">
                      <a:solidFill>
                        <a:srgbClr val="002060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78D-4A9E-835E-C0CA09B7B5D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2060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List1!$A$2:$A$184</c:f>
              <c:numCache>
                <c:formatCode>dd/mm/yy;@</c:formatCode>
                <c:ptCount val="183"/>
                <c:pt idx="0">
                  <c:v>44343</c:v>
                </c:pt>
                <c:pt idx="1">
                  <c:v>44344</c:v>
                </c:pt>
                <c:pt idx="2">
                  <c:v>44345</c:v>
                </c:pt>
                <c:pt idx="3">
                  <c:v>44346</c:v>
                </c:pt>
                <c:pt idx="4">
                  <c:v>44347</c:v>
                </c:pt>
                <c:pt idx="5">
                  <c:v>44348</c:v>
                </c:pt>
                <c:pt idx="6">
                  <c:v>44349</c:v>
                </c:pt>
                <c:pt idx="7">
                  <c:v>44350</c:v>
                </c:pt>
                <c:pt idx="8">
                  <c:v>44351</c:v>
                </c:pt>
                <c:pt idx="9">
                  <c:v>44352</c:v>
                </c:pt>
                <c:pt idx="10">
                  <c:v>44353</c:v>
                </c:pt>
                <c:pt idx="11">
                  <c:v>44354</c:v>
                </c:pt>
                <c:pt idx="12">
                  <c:v>44355</c:v>
                </c:pt>
                <c:pt idx="13">
                  <c:v>44356</c:v>
                </c:pt>
                <c:pt idx="14">
                  <c:v>44357</c:v>
                </c:pt>
                <c:pt idx="15">
                  <c:v>44358</c:v>
                </c:pt>
                <c:pt idx="16">
                  <c:v>44359</c:v>
                </c:pt>
                <c:pt idx="17">
                  <c:v>44360</c:v>
                </c:pt>
                <c:pt idx="18">
                  <c:v>44361</c:v>
                </c:pt>
                <c:pt idx="19">
                  <c:v>44362</c:v>
                </c:pt>
                <c:pt idx="20">
                  <c:v>44363</c:v>
                </c:pt>
                <c:pt idx="21">
                  <c:v>44364</c:v>
                </c:pt>
                <c:pt idx="22">
                  <c:v>44365</c:v>
                </c:pt>
                <c:pt idx="23">
                  <c:v>44366</c:v>
                </c:pt>
                <c:pt idx="24">
                  <c:v>44367</c:v>
                </c:pt>
                <c:pt idx="25">
                  <c:v>44368</c:v>
                </c:pt>
                <c:pt idx="26">
                  <c:v>44369</c:v>
                </c:pt>
                <c:pt idx="27">
                  <c:v>44370</c:v>
                </c:pt>
                <c:pt idx="28">
                  <c:v>44371</c:v>
                </c:pt>
                <c:pt idx="29">
                  <c:v>44372</c:v>
                </c:pt>
                <c:pt idx="30">
                  <c:v>44373</c:v>
                </c:pt>
                <c:pt idx="31">
                  <c:v>44374</c:v>
                </c:pt>
                <c:pt idx="32">
                  <c:v>44375</c:v>
                </c:pt>
                <c:pt idx="33">
                  <c:v>44376</c:v>
                </c:pt>
                <c:pt idx="34">
                  <c:v>44377</c:v>
                </c:pt>
                <c:pt idx="35">
                  <c:v>44378</c:v>
                </c:pt>
                <c:pt idx="36">
                  <c:v>44379</c:v>
                </c:pt>
                <c:pt idx="37">
                  <c:v>44380</c:v>
                </c:pt>
                <c:pt idx="38">
                  <c:v>44381</c:v>
                </c:pt>
                <c:pt idx="39">
                  <c:v>44382</c:v>
                </c:pt>
                <c:pt idx="40">
                  <c:v>44383</c:v>
                </c:pt>
                <c:pt idx="41">
                  <c:v>44384</c:v>
                </c:pt>
                <c:pt idx="42">
                  <c:v>44385</c:v>
                </c:pt>
                <c:pt idx="43">
                  <c:v>44386</c:v>
                </c:pt>
                <c:pt idx="44">
                  <c:v>44387</c:v>
                </c:pt>
                <c:pt idx="45">
                  <c:v>44388</c:v>
                </c:pt>
                <c:pt idx="46">
                  <c:v>44389</c:v>
                </c:pt>
                <c:pt idx="47">
                  <c:v>44390</c:v>
                </c:pt>
                <c:pt idx="48">
                  <c:v>44391</c:v>
                </c:pt>
                <c:pt idx="49">
                  <c:v>44392</c:v>
                </c:pt>
                <c:pt idx="50">
                  <c:v>44393</c:v>
                </c:pt>
                <c:pt idx="51">
                  <c:v>44394</c:v>
                </c:pt>
                <c:pt idx="52">
                  <c:v>44395</c:v>
                </c:pt>
                <c:pt idx="53">
                  <c:v>44396</c:v>
                </c:pt>
                <c:pt idx="54">
                  <c:v>44397</c:v>
                </c:pt>
                <c:pt idx="55">
                  <c:v>44398</c:v>
                </c:pt>
                <c:pt idx="56">
                  <c:v>44399</c:v>
                </c:pt>
                <c:pt idx="57">
                  <c:v>44400</c:v>
                </c:pt>
                <c:pt idx="58">
                  <c:v>44401</c:v>
                </c:pt>
                <c:pt idx="59">
                  <c:v>44402</c:v>
                </c:pt>
                <c:pt idx="60">
                  <c:v>44403</c:v>
                </c:pt>
                <c:pt idx="61">
                  <c:v>44404</c:v>
                </c:pt>
                <c:pt idx="62">
                  <c:v>44405</c:v>
                </c:pt>
                <c:pt idx="63">
                  <c:v>44406</c:v>
                </c:pt>
                <c:pt idx="64">
                  <c:v>44407</c:v>
                </c:pt>
                <c:pt idx="65">
                  <c:v>44408</c:v>
                </c:pt>
                <c:pt idx="66">
                  <c:v>44409</c:v>
                </c:pt>
                <c:pt idx="67">
                  <c:v>44410</c:v>
                </c:pt>
                <c:pt idx="68">
                  <c:v>44411</c:v>
                </c:pt>
                <c:pt idx="69">
                  <c:v>44412</c:v>
                </c:pt>
                <c:pt idx="70">
                  <c:v>44413</c:v>
                </c:pt>
                <c:pt idx="71">
                  <c:v>44414</c:v>
                </c:pt>
                <c:pt idx="72">
                  <c:v>44415</c:v>
                </c:pt>
                <c:pt idx="73">
                  <c:v>44416</c:v>
                </c:pt>
                <c:pt idx="74">
                  <c:v>44417</c:v>
                </c:pt>
                <c:pt idx="75">
                  <c:v>44418</c:v>
                </c:pt>
                <c:pt idx="76">
                  <c:v>44419</c:v>
                </c:pt>
                <c:pt idx="77">
                  <c:v>44420</c:v>
                </c:pt>
                <c:pt idx="78">
                  <c:v>44421</c:v>
                </c:pt>
                <c:pt idx="79">
                  <c:v>44422</c:v>
                </c:pt>
                <c:pt idx="80">
                  <c:v>44423</c:v>
                </c:pt>
                <c:pt idx="81">
                  <c:v>44424</c:v>
                </c:pt>
                <c:pt idx="82">
                  <c:v>44425</c:v>
                </c:pt>
                <c:pt idx="83">
                  <c:v>44426</c:v>
                </c:pt>
                <c:pt idx="84">
                  <c:v>44427</c:v>
                </c:pt>
                <c:pt idx="85">
                  <c:v>44428</c:v>
                </c:pt>
                <c:pt idx="86">
                  <c:v>44429</c:v>
                </c:pt>
                <c:pt idx="87">
                  <c:v>44430</c:v>
                </c:pt>
                <c:pt idx="88">
                  <c:v>44431</c:v>
                </c:pt>
                <c:pt idx="89">
                  <c:v>44432</c:v>
                </c:pt>
                <c:pt idx="90">
                  <c:v>44433</c:v>
                </c:pt>
                <c:pt idx="91">
                  <c:v>44434</c:v>
                </c:pt>
                <c:pt idx="92">
                  <c:v>44435</c:v>
                </c:pt>
                <c:pt idx="93">
                  <c:v>44436</c:v>
                </c:pt>
                <c:pt idx="94">
                  <c:v>44437</c:v>
                </c:pt>
                <c:pt idx="95">
                  <c:v>44438</c:v>
                </c:pt>
                <c:pt idx="96">
                  <c:v>44439</c:v>
                </c:pt>
                <c:pt idx="97">
                  <c:v>44440</c:v>
                </c:pt>
                <c:pt idx="98">
                  <c:v>44441</c:v>
                </c:pt>
                <c:pt idx="99">
                  <c:v>44442</c:v>
                </c:pt>
                <c:pt idx="100">
                  <c:v>44443</c:v>
                </c:pt>
                <c:pt idx="101">
                  <c:v>44444</c:v>
                </c:pt>
                <c:pt idx="102">
                  <c:v>44445</c:v>
                </c:pt>
                <c:pt idx="103">
                  <c:v>44446</c:v>
                </c:pt>
                <c:pt idx="104">
                  <c:v>44447</c:v>
                </c:pt>
                <c:pt idx="105">
                  <c:v>44448</c:v>
                </c:pt>
                <c:pt idx="106">
                  <c:v>44449</c:v>
                </c:pt>
                <c:pt idx="107">
                  <c:v>44450</c:v>
                </c:pt>
                <c:pt idx="108">
                  <c:v>44451</c:v>
                </c:pt>
                <c:pt idx="109">
                  <c:v>44452</c:v>
                </c:pt>
                <c:pt idx="110">
                  <c:v>44453</c:v>
                </c:pt>
                <c:pt idx="111">
                  <c:v>44454</c:v>
                </c:pt>
                <c:pt idx="112">
                  <c:v>44455</c:v>
                </c:pt>
                <c:pt idx="113">
                  <c:v>44456</c:v>
                </c:pt>
                <c:pt idx="114">
                  <c:v>44457</c:v>
                </c:pt>
                <c:pt idx="115">
                  <c:v>44458</c:v>
                </c:pt>
                <c:pt idx="116">
                  <c:v>44459</c:v>
                </c:pt>
                <c:pt idx="117">
                  <c:v>44460</c:v>
                </c:pt>
                <c:pt idx="118">
                  <c:v>44461</c:v>
                </c:pt>
                <c:pt idx="119">
                  <c:v>44462</c:v>
                </c:pt>
                <c:pt idx="120">
                  <c:v>44463</c:v>
                </c:pt>
                <c:pt idx="121">
                  <c:v>44464</c:v>
                </c:pt>
                <c:pt idx="122">
                  <c:v>44465</c:v>
                </c:pt>
                <c:pt idx="123">
                  <c:v>44466</c:v>
                </c:pt>
                <c:pt idx="124">
                  <c:v>44467</c:v>
                </c:pt>
                <c:pt idx="125">
                  <c:v>44468</c:v>
                </c:pt>
                <c:pt idx="126">
                  <c:v>44469</c:v>
                </c:pt>
                <c:pt idx="127">
                  <c:v>44470</c:v>
                </c:pt>
                <c:pt idx="128">
                  <c:v>44471</c:v>
                </c:pt>
                <c:pt idx="129">
                  <c:v>44472</c:v>
                </c:pt>
                <c:pt idx="130">
                  <c:v>44473</c:v>
                </c:pt>
                <c:pt idx="131">
                  <c:v>44474</c:v>
                </c:pt>
                <c:pt idx="132">
                  <c:v>44475</c:v>
                </c:pt>
                <c:pt idx="133">
                  <c:v>44476</c:v>
                </c:pt>
                <c:pt idx="134">
                  <c:v>44477</c:v>
                </c:pt>
                <c:pt idx="135">
                  <c:v>44478</c:v>
                </c:pt>
                <c:pt idx="136">
                  <c:v>44479</c:v>
                </c:pt>
                <c:pt idx="137">
                  <c:v>44480</c:v>
                </c:pt>
                <c:pt idx="138">
                  <c:v>44481</c:v>
                </c:pt>
                <c:pt idx="139">
                  <c:v>44482</c:v>
                </c:pt>
                <c:pt idx="140">
                  <c:v>44483</c:v>
                </c:pt>
                <c:pt idx="141">
                  <c:v>44484</c:v>
                </c:pt>
                <c:pt idx="142">
                  <c:v>44485</c:v>
                </c:pt>
                <c:pt idx="143">
                  <c:v>44486</c:v>
                </c:pt>
                <c:pt idx="144">
                  <c:v>44487</c:v>
                </c:pt>
                <c:pt idx="145">
                  <c:v>44488</c:v>
                </c:pt>
                <c:pt idx="146">
                  <c:v>44489</c:v>
                </c:pt>
                <c:pt idx="147">
                  <c:v>44490</c:v>
                </c:pt>
                <c:pt idx="148">
                  <c:v>44491</c:v>
                </c:pt>
                <c:pt idx="149">
                  <c:v>44492</c:v>
                </c:pt>
                <c:pt idx="150">
                  <c:v>44493</c:v>
                </c:pt>
                <c:pt idx="151">
                  <c:v>44494</c:v>
                </c:pt>
                <c:pt idx="152">
                  <c:v>44495</c:v>
                </c:pt>
                <c:pt idx="153">
                  <c:v>44496</c:v>
                </c:pt>
                <c:pt idx="154">
                  <c:v>44497</c:v>
                </c:pt>
                <c:pt idx="155">
                  <c:v>44498</c:v>
                </c:pt>
                <c:pt idx="156">
                  <c:v>44499</c:v>
                </c:pt>
                <c:pt idx="157">
                  <c:v>44500</c:v>
                </c:pt>
                <c:pt idx="158">
                  <c:v>44501</c:v>
                </c:pt>
                <c:pt idx="159">
                  <c:v>44502</c:v>
                </c:pt>
                <c:pt idx="160">
                  <c:v>44503</c:v>
                </c:pt>
                <c:pt idx="161">
                  <c:v>44504</c:v>
                </c:pt>
                <c:pt idx="162">
                  <c:v>44505</c:v>
                </c:pt>
                <c:pt idx="163">
                  <c:v>44506</c:v>
                </c:pt>
                <c:pt idx="164">
                  <c:v>44507</c:v>
                </c:pt>
                <c:pt idx="165">
                  <c:v>44508</c:v>
                </c:pt>
                <c:pt idx="166">
                  <c:v>44509</c:v>
                </c:pt>
                <c:pt idx="167">
                  <c:v>44510</c:v>
                </c:pt>
                <c:pt idx="168">
                  <c:v>44511</c:v>
                </c:pt>
                <c:pt idx="169">
                  <c:v>44512</c:v>
                </c:pt>
                <c:pt idx="170">
                  <c:v>44513</c:v>
                </c:pt>
                <c:pt idx="171">
                  <c:v>44514</c:v>
                </c:pt>
                <c:pt idx="172">
                  <c:v>44515</c:v>
                </c:pt>
                <c:pt idx="173">
                  <c:v>44516</c:v>
                </c:pt>
                <c:pt idx="174">
                  <c:v>44517</c:v>
                </c:pt>
                <c:pt idx="175">
                  <c:v>44518</c:v>
                </c:pt>
                <c:pt idx="176">
                  <c:v>44519</c:v>
                </c:pt>
                <c:pt idx="177">
                  <c:v>44520</c:v>
                </c:pt>
                <c:pt idx="178">
                  <c:v>44521</c:v>
                </c:pt>
                <c:pt idx="179">
                  <c:v>44522</c:v>
                </c:pt>
                <c:pt idx="180">
                  <c:v>44523</c:v>
                </c:pt>
                <c:pt idx="181">
                  <c:v>44524</c:v>
                </c:pt>
                <c:pt idx="182">
                  <c:v>44525</c:v>
                </c:pt>
              </c:numCache>
            </c:numRef>
          </c:cat>
          <c:val>
            <c:numRef>
              <c:f>List1!$B$2:$B$184</c:f>
              <c:numCache>
                <c:formatCode>General</c:formatCode>
                <c:ptCount val="183"/>
                <c:pt idx="0">
                  <c:v>66</c:v>
                </c:pt>
                <c:pt idx="1">
                  <c:v>64</c:v>
                </c:pt>
                <c:pt idx="2">
                  <c:v>62</c:v>
                </c:pt>
                <c:pt idx="3">
                  <c:v>62</c:v>
                </c:pt>
                <c:pt idx="4">
                  <c:v>61</c:v>
                </c:pt>
                <c:pt idx="5">
                  <c:v>58</c:v>
                </c:pt>
                <c:pt idx="6">
                  <c:v>55</c:v>
                </c:pt>
                <c:pt idx="7">
                  <c:v>54</c:v>
                </c:pt>
                <c:pt idx="8">
                  <c:v>53</c:v>
                </c:pt>
                <c:pt idx="9">
                  <c:v>53</c:v>
                </c:pt>
                <c:pt idx="10">
                  <c:v>53</c:v>
                </c:pt>
                <c:pt idx="11">
                  <c:v>52</c:v>
                </c:pt>
                <c:pt idx="12">
                  <c:v>50</c:v>
                </c:pt>
                <c:pt idx="13">
                  <c:v>48</c:v>
                </c:pt>
                <c:pt idx="14">
                  <c:v>48</c:v>
                </c:pt>
                <c:pt idx="15">
                  <c:v>48</c:v>
                </c:pt>
                <c:pt idx="16">
                  <c:v>48</c:v>
                </c:pt>
                <c:pt idx="17">
                  <c:v>48</c:v>
                </c:pt>
                <c:pt idx="18">
                  <c:v>48</c:v>
                </c:pt>
                <c:pt idx="19">
                  <c:v>48</c:v>
                </c:pt>
                <c:pt idx="20">
                  <c:v>48</c:v>
                </c:pt>
                <c:pt idx="21">
                  <c:v>47</c:v>
                </c:pt>
                <c:pt idx="22">
                  <c:v>47</c:v>
                </c:pt>
                <c:pt idx="23">
                  <c:v>47</c:v>
                </c:pt>
                <c:pt idx="24">
                  <c:v>47</c:v>
                </c:pt>
                <c:pt idx="25">
                  <c:v>47</c:v>
                </c:pt>
                <c:pt idx="26">
                  <c:v>47</c:v>
                </c:pt>
                <c:pt idx="27">
                  <c:v>47</c:v>
                </c:pt>
                <c:pt idx="28">
                  <c:v>47</c:v>
                </c:pt>
                <c:pt idx="29">
                  <c:v>46</c:v>
                </c:pt>
                <c:pt idx="30">
                  <c:v>46</c:v>
                </c:pt>
                <c:pt idx="31">
                  <c:v>46</c:v>
                </c:pt>
                <c:pt idx="32">
                  <c:v>46</c:v>
                </c:pt>
                <c:pt idx="33">
                  <c:v>46</c:v>
                </c:pt>
                <c:pt idx="34">
                  <c:v>47</c:v>
                </c:pt>
                <c:pt idx="35">
                  <c:v>47</c:v>
                </c:pt>
                <c:pt idx="36">
                  <c:v>47</c:v>
                </c:pt>
                <c:pt idx="37">
                  <c:v>47</c:v>
                </c:pt>
                <c:pt idx="38">
                  <c:v>47</c:v>
                </c:pt>
                <c:pt idx="39">
                  <c:v>47</c:v>
                </c:pt>
                <c:pt idx="40">
                  <c:v>47</c:v>
                </c:pt>
                <c:pt idx="41">
                  <c:v>47</c:v>
                </c:pt>
                <c:pt idx="42">
                  <c:v>47</c:v>
                </c:pt>
                <c:pt idx="43">
                  <c:v>47</c:v>
                </c:pt>
                <c:pt idx="44">
                  <c:v>47</c:v>
                </c:pt>
                <c:pt idx="45">
                  <c:v>48</c:v>
                </c:pt>
                <c:pt idx="46">
                  <c:v>48</c:v>
                </c:pt>
                <c:pt idx="47">
                  <c:v>48</c:v>
                </c:pt>
                <c:pt idx="48">
                  <c:v>48</c:v>
                </c:pt>
                <c:pt idx="49">
                  <c:v>48</c:v>
                </c:pt>
                <c:pt idx="50">
                  <c:v>47</c:v>
                </c:pt>
                <c:pt idx="51">
                  <c:v>47</c:v>
                </c:pt>
                <c:pt idx="52">
                  <c:v>47</c:v>
                </c:pt>
                <c:pt idx="53">
                  <c:v>47</c:v>
                </c:pt>
                <c:pt idx="54">
                  <c:v>47</c:v>
                </c:pt>
                <c:pt idx="55">
                  <c:v>48</c:v>
                </c:pt>
                <c:pt idx="56">
                  <c:v>47</c:v>
                </c:pt>
                <c:pt idx="57">
                  <c:v>47</c:v>
                </c:pt>
                <c:pt idx="58">
                  <c:v>46</c:v>
                </c:pt>
                <c:pt idx="59">
                  <c:v>46</c:v>
                </c:pt>
                <c:pt idx="60">
                  <c:v>45</c:v>
                </c:pt>
                <c:pt idx="61">
                  <c:v>46</c:v>
                </c:pt>
                <c:pt idx="62">
                  <c:v>47</c:v>
                </c:pt>
                <c:pt idx="63">
                  <c:v>47</c:v>
                </c:pt>
                <c:pt idx="64">
                  <c:v>47</c:v>
                </c:pt>
                <c:pt idx="65">
                  <c:v>47</c:v>
                </c:pt>
                <c:pt idx="66">
                  <c:v>47</c:v>
                </c:pt>
                <c:pt idx="67">
                  <c:v>47</c:v>
                </c:pt>
                <c:pt idx="68">
                  <c:v>47</c:v>
                </c:pt>
                <c:pt idx="69">
                  <c:v>47</c:v>
                </c:pt>
                <c:pt idx="70">
                  <c:v>46</c:v>
                </c:pt>
                <c:pt idx="71">
                  <c:v>46</c:v>
                </c:pt>
                <c:pt idx="72">
                  <c:v>46</c:v>
                </c:pt>
                <c:pt idx="73">
                  <c:v>47</c:v>
                </c:pt>
                <c:pt idx="74">
                  <c:v>47</c:v>
                </c:pt>
                <c:pt idx="75">
                  <c:v>46</c:v>
                </c:pt>
                <c:pt idx="76">
                  <c:v>46</c:v>
                </c:pt>
                <c:pt idx="77">
                  <c:v>46</c:v>
                </c:pt>
                <c:pt idx="78">
                  <c:v>46</c:v>
                </c:pt>
                <c:pt idx="79">
                  <c:v>46</c:v>
                </c:pt>
                <c:pt idx="80">
                  <c:v>46</c:v>
                </c:pt>
                <c:pt idx="81">
                  <c:v>46</c:v>
                </c:pt>
                <c:pt idx="82">
                  <c:v>45</c:v>
                </c:pt>
                <c:pt idx="83">
                  <c:v>45</c:v>
                </c:pt>
                <c:pt idx="84">
                  <c:v>45</c:v>
                </c:pt>
                <c:pt idx="85">
                  <c:v>45</c:v>
                </c:pt>
                <c:pt idx="86">
                  <c:v>45</c:v>
                </c:pt>
                <c:pt idx="87">
                  <c:v>45</c:v>
                </c:pt>
                <c:pt idx="88">
                  <c:v>46</c:v>
                </c:pt>
                <c:pt idx="89">
                  <c:v>46</c:v>
                </c:pt>
                <c:pt idx="90">
                  <c:v>46</c:v>
                </c:pt>
                <c:pt idx="91">
                  <c:v>46</c:v>
                </c:pt>
                <c:pt idx="92">
                  <c:v>47</c:v>
                </c:pt>
                <c:pt idx="93">
                  <c:v>47</c:v>
                </c:pt>
                <c:pt idx="94">
                  <c:v>47</c:v>
                </c:pt>
                <c:pt idx="95">
                  <c:v>47</c:v>
                </c:pt>
                <c:pt idx="96">
                  <c:v>47</c:v>
                </c:pt>
                <c:pt idx="97">
                  <c:v>49</c:v>
                </c:pt>
                <c:pt idx="98">
                  <c:v>50</c:v>
                </c:pt>
                <c:pt idx="99">
                  <c:v>51</c:v>
                </c:pt>
                <c:pt idx="100">
                  <c:v>51</c:v>
                </c:pt>
                <c:pt idx="101">
                  <c:v>51</c:v>
                </c:pt>
                <c:pt idx="102">
                  <c:v>52</c:v>
                </c:pt>
                <c:pt idx="103">
                  <c:v>53</c:v>
                </c:pt>
                <c:pt idx="104">
                  <c:v>54</c:v>
                </c:pt>
                <c:pt idx="105">
                  <c:v>55</c:v>
                </c:pt>
                <c:pt idx="106">
                  <c:v>55</c:v>
                </c:pt>
                <c:pt idx="107">
                  <c:v>54</c:v>
                </c:pt>
                <c:pt idx="108">
                  <c:v>53</c:v>
                </c:pt>
                <c:pt idx="109">
                  <c:v>53</c:v>
                </c:pt>
                <c:pt idx="110">
                  <c:v>54</c:v>
                </c:pt>
                <c:pt idx="111">
                  <c:v>53</c:v>
                </c:pt>
                <c:pt idx="112">
                  <c:v>53</c:v>
                </c:pt>
                <c:pt idx="113">
                  <c:v>52</c:v>
                </c:pt>
                <c:pt idx="114">
                  <c:v>50</c:v>
                </c:pt>
                <c:pt idx="115">
                  <c:v>50</c:v>
                </c:pt>
                <c:pt idx="116">
                  <c:v>54</c:v>
                </c:pt>
                <c:pt idx="117">
                  <c:v>56</c:v>
                </c:pt>
                <c:pt idx="118">
                  <c:v>56</c:v>
                </c:pt>
                <c:pt idx="119">
                  <c:v>56</c:v>
                </c:pt>
                <c:pt idx="120">
                  <c:v>56</c:v>
                </c:pt>
                <c:pt idx="121">
                  <c:v>57</c:v>
                </c:pt>
                <c:pt idx="122">
                  <c:v>57</c:v>
                </c:pt>
                <c:pt idx="123">
                  <c:v>61</c:v>
                </c:pt>
                <c:pt idx="124">
                  <c:v>63</c:v>
                </c:pt>
                <c:pt idx="125">
                  <c:v>68</c:v>
                </c:pt>
                <c:pt idx="126">
                  <c:v>69</c:v>
                </c:pt>
                <c:pt idx="127">
                  <c:v>70</c:v>
                </c:pt>
                <c:pt idx="128">
                  <c:v>69</c:v>
                </c:pt>
                <c:pt idx="129">
                  <c:v>68</c:v>
                </c:pt>
                <c:pt idx="130">
                  <c:v>70</c:v>
                </c:pt>
                <c:pt idx="131">
                  <c:v>72</c:v>
                </c:pt>
                <c:pt idx="132">
                  <c:v>72</c:v>
                </c:pt>
                <c:pt idx="133">
                  <c:v>73</c:v>
                </c:pt>
                <c:pt idx="134">
                  <c:v>74</c:v>
                </c:pt>
                <c:pt idx="135">
                  <c:v>75</c:v>
                </c:pt>
                <c:pt idx="136">
                  <c:v>73</c:v>
                </c:pt>
                <c:pt idx="137">
                  <c:v>75</c:v>
                </c:pt>
                <c:pt idx="138">
                  <c:v>71</c:v>
                </c:pt>
                <c:pt idx="139">
                  <c:v>71</c:v>
                </c:pt>
                <c:pt idx="140">
                  <c:v>67</c:v>
                </c:pt>
                <c:pt idx="141">
                  <c:v>72</c:v>
                </c:pt>
                <c:pt idx="142">
                  <c:v>72</c:v>
                </c:pt>
                <c:pt idx="143">
                  <c:v>73</c:v>
                </c:pt>
                <c:pt idx="144">
                  <c:v>85</c:v>
                </c:pt>
                <c:pt idx="145">
                  <c:v>88</c:v>
                </c:pt>
                <c:pt idx="146">
                  <c:v>96</c:v>
                </c:pt>
                <c:pt idx="147">
                  <c:v>99</c:v>
                </c:pt>
                <c:pt idx="148">
                  <c:v>105</c:v>
                </c:pt>
                <c:pt idx="149">
                  <c:v>101</c:v>
                </c:pt>
                <c:pt idx="150">
                  <c:v>104</c:v>
                </c:pt>
                <c:pt idx="151">
                  <c:v>120</c:v>
                </c:pt>
                <c:pt idx="152">
                  <c:v>122</c:v>
                </c:pt>
                <c:pt idx="153">
                  <c:v>134</c:v>
                </c:pt>
                <c:pt idx="154">
                  <c:v>135</c:v>
                </c:pt>
                <c:pt idx="155">
                  <c:v>140</c:v>
                </c:pt>
                <c:pt idx="156">
                  <c:v>140</c:v>
                </c:pt>
                <c:pt idx="157">
                  <c:v>141</c:v>
                </c:pt>
                <c:pt idx="158">
                  <c:v>180</c:v>
                </c:pt>
                <c:pt idx="159">
                  <c:v>188</c:v>
                </c:pt>
                <c:pt idx="160">
                  <c:v>200</c:v>
                </c:pt>
                <c:pt idx="161">
                  <c:v>213</c:v>
                </c:pt>
                <c:pt idx="162">
                  <c:v>228</c:v>
                </c:pt>
                <c:pt idx="163">
                  <c:v>233</c:v>
                </c:pt>
                <c:pt idx="164">
                  <c:v>235</c:v>
                </c:pt>
                <c:pt idx="165">
                  <c:v>266</c:v>
                </c:pt>
                <c:pt idx="166">
                  <c:v>282</c:v>
                </c:pt>
                <c:pt idx="167">
                  <c:v>298</c:v>
                </c:pt>
                <c:pt idx="168">
                  <c:v>322</c:v>
                </c:pt>
                <c:pt idx="169">
                  <c:v>349</c:v>
                </c:pt>
                <c:pt idx="170">
                  <c:v>359</c:v>
                </c:pt>
                <c:pt idx="171">
                  <c:v>366</c:v>
                </c:pt>
                <c:pt idx="172">
                  <c:v>400</c:v>
                </c:pt>
                <c:pt idx="173">
                  <c:v>416</c:v>
                </c:pt>
                <c:pt idx="174">
                  <c:v>402</c:v>
                </c:pt>
                <c:pt idx="175">
                  <c:v>418</c:v>
                </c:pt>
                <c:pt idx="176">
                  <c:v>453</c:v>
                </c:pt>
                <c:pt idx="177">
                  <c:v>452</c:v>
                </c:pt>
                <c:pt idx="178">
                  <c:v>449</c:v>
                </c:pt>
                <c:pt idx="179">
                  <c:v>483</c:v>
                </c:pt>
                <c:pt idx="180">
                  <c:v>524</c:v>
                </c:pt>
                <c:pt idx="181">
                  <c:v>555</c:v>
                </c:pt>
                <c:pt idx="182">
                  <c:v>5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dateAx>
        <c:axId val="604314152"/>
        <c:scaling>
          <c:orientation val="minMax"/>
        </c:scaling>
        <c:delete val="0"/>
        <c:axPos val="b"/>
        <c:numFmt formatCode="dd/mm/yy;@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Offset val="100"/>
        <c:baseTimeUnit val="days"/>
        <c:majorUnit val="7"/>
      </c:dateAx>
      <c:valAx>
        <c:axId val="6043121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99CC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rgbClr val="00206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184</c:f>
              <c:numCache>
                <c:formatCode>m/d/yyyy</c:formatCode>
                <c:ptCount val="183"/>
                <c:pt idx="0">
                  <c:v>44343</c:v>
                </c:pt>
                <c:pt idx="1">
                  <c:v>44344</c:v>
                </c:pt>
                <c:pt idx="2">
                  <c:v>44345</c:v>
                </c:pt>
                <c:pt idx="3">
                  <c:v>44346</c:v>
                </c:pt>
                <c:pt idx="4">
                  <c:v>44347</c:v>
                </c:pt>
                <c:pt idx="5">
                  <c:v>44348</c:v>
                </c:pt>
                <c:pt idx="6">
                  <c:v>44349</c:v>
                </c:pt>
                <c:pt idx="7">
                  <c:v>44350</c:v>
                </c:pt>
                <c:pt idx="8">
                  <c:v>44351</c:v>
                </c:pt>
                <c:pt idx="9">
                  <c:v>44352</c:v>
                </c:pt>
                <c:pt idx="10">
                  <c:v>44353</c:v>
                </c:pt>
                <c:pt idx="11">
                  <c:v>44354</c:v>
                </c:pt>
                <c:pt idx="12">
                  <c:v>44355</c:v>
                </c:pt>
                <c:pt idx="13">
                  <c:v>44356</c:v>
                </c:pt>
                <c:pt idx="14">
                  <c:v>44357</c:v>
                </c:pt>
                <c:pt idx="15">
                  <c:v>44358</c:v>
                </c:pt>
                <c:pt idx="16">
                  <c:v>44359</c:v>
                </c:pt>
                <c:pt idx="17">
                  <c:v>44360</c:v>
                </c:pt>
                <c:pt idx="18">
                  <c:v>44361</c:v>
                </c:pt>
                <c:pt idx="19">
                  <c:v>44362</c:v>
                </c:pt>
                <c:pt idx="20">
                  <c:v>44363</c:v>
                </c:pt>
                <c:pt idx="21">
                  <c:v>44364</c:v>
                </c:pt>
                <c:pt idx="22">
                  <c:v>44365</c:v>
                </c:pt>
                <c:pt idx="23">
                  <c:v>44366</c:v>
                </c:pt>
                <c:pt idx="24">
                  <c:v>44367</c:v>
                </c:pt>
                <c:pt idx="25">
                  <c:v>44368</c:v>
                </c:pt>
                <c:pt idx="26">
                  <c:v>44369</c:v>
                </c:pt>
                <c:pt idx="27">
                  <c:v>44370</c:v>
                </c:pt>
                <c:pt idx="28">
                  <c:v>44371</c:v>
                </c:pt>
                <c:pt idx="29">
                  <c:v>44372</c:v>
                </c:pt>
                <c:pt idx="30">
                  <c:v>44373</c:v>
                </c:pt>
                <c:pt idx="31">
                  <c:v>44374</c:v>
                </c:pt>
                <c:pt idx="32">
                  <c:v>44375</c:v>
                </c:pt>
                <c:pt idx="33">
                  <c:v>44376</c:v>
                </c:pt>
                <c:pt idx="34">
                  <c:v>44377</c:v>
                </c:pt>
                <c:pt idx="35">
                  <c:v>44378</c:v>
                </c:pt>
                <c:pt idx="36">
                  <c:v>44379</c:v>
                </c:pt>
                <c:pt idx="37">
                  <c:v>44380</c:v>
                </c:pt>
                <c:pt idx="38">
                  <c:v>44381</c:v>
                </c:pt>
                <c:pt idx="39">
                  <c:v>44382</c:v>
                </c:pt>
                <c:pt idx="40">
                  <c:v>44383</c:v>
                </c:pt>
                <c:pt idx="41">
                  <c:v>44384</c:v>
                </c:pt>
                <c:pt idx="42">
                  <c:v>44385</c:v>
                </c:pt>
                <c:pt idx="43">
                  <c:v>44386</c:v>
                </c:pt>
                <c:pt idx="44">
                  <c:v>44387</c:v>
                </c:pt>
                <c:pt idx="45">
                  <c:v>44388</c:v>
                </c:pt>
                <c:pt idx="46">
                  <c:v>44389</c:v>
                </c:pt>
                <c:pt idx="47">
                  <c:v>44390</c:v>
                </c:pt>
                <c:pt idx="48">
                  <c:v>44391</c:v>
                </c:pt>
                <c:pt idx="49">
                  <c:v>44392</c:v>
                </c:pt>
                <c:pt idx="50">
                  <c:v>44393</c:v>
                </c:pt>
                <c:pt idx="51">
                  <c:v>44394</c:v>
                </c:pt>
                <c:pt idx="52">
                  <c:v>44395</c:v>
                </c:pt>
                <c:pt idx="53">
                  <c:v>44396</c:v>
                </c:pt>
                <c:pt idx="54">
                  <c:v>44397</c:v>
                </c:pt>
                <c:pt idx="55">
                  <c:v>44398</c:v>
                </c:pt>
                <c:pt idx="56">
                  <c:v>44399</c:v>
                </c:pt>
                <c:pt idx="57">
                  <c:v>44400</c:v>
                </c:pt>
                <c:pt idx="58">
                  <c:v>44401</c:v>
                </c:pt>
                <c:pt idx="59">
                  <c:v>44402</c:v>
                </c:pt>
                <c:pt idx="60">
                  <c:v>44403</c:v>
                </c:pt>
                <c:pt idx="61">
                  <c:v>44404</c:v>
                </c:pt>
                <c:pt idx="62">
                  <c:v>44405</c:v>
                </c:pt>
                <c:pt idx="63">
                  <c:v>44406</c:v>
                </c:pt>
                <c:pt idx="64">
                  <c:v>44407</c:v>
                </c:pt>
                <c:pt idx="65">
                  <c:v>44408</c:v>
                </c:pt>
                <c:pt idx="66">
                  <c:v>44409</c:v>
                </c:pt>
                <c:pt idx="67">
                  <c:v>44410</c:v>
                </c:pt>
                <c:pt idx="68">
                  <c:v>44411</c:v>
                </c:pt>
                <c:pt idx="69">
                  <c:v>44412</c:v>
                </c:pt>
                <c:pt idx="70">
                  <c:v>44413</c:v>
                </c:pt>
                <c:pt idx="71">
                  <c:v>44414</c:v>
                </c:pt>
                <c:pt idx="72">
                  <c:v>44415</c:v>
                </c:pt>
                <c:pt idx="73">
                  <c:v>44416</c:v>
                </c:pt>
                <c:pt idx="74">
                  <c:v>44417</c:v>
                </c:pt>
                <c:pt idx="75">
                  <c:v>44418</c:v>
                </c:pt>
                <c:pt idx="76">
                  <c:v>44419</c:v>
                </c:pt>
                <c:pt idx="77">
                  <c:v>44420</c:v>
                </c:pt>
                <c:pt idx="78">
                  <c:v>44421</c:v>
                </c:pt>
                <c:pt idx="79">
                  <c:v>44422</c:v>
                </c:pt>
                <c:pt idx="80">
                  <c:v>44423</c:v>
                </c:pt>
                <c:pt idx="81">
                  <c:v>44424</c:v>
                </c:pt>
                <c:pt idx="82">
                  <c:v>44425</c:v>
                </c:pt>
                <c:pt idx="83">
                  <c:v>44426</c:v>
                </c:pt>
                <c:pt idx="84">
                  <c:v>44427</c:v>
                </c:pt>
                <c:pt idx="85">
                  <c:v>44428</c:v>
                </c:pt>
                <c:pt idx="86">
                  <c:v>44429</c:v>
                </c:pt>
                <c:pt idx="87">
                  <c:v>44430</c:v>
                </c:pt>
                <c:pt idx="88">
                  <c:v>44431</c:v>
                </c:pt>
                <c:pt idx="89">
                  <c:v>44432</c:v>
                </c:pt>
                <c:pt idx="90">
                  <c:v>44433</c:v>
                </c:pt>
                <c:pt idx="91">
                  <c:v>44434</c:v>
                </c:pt>
                <c:pt idx="92">
                  <c:v>44435</c:v>
                </c:pt>
                <c:pt idx="93">
                  <c:v>44436</c:v>
                </c:pt>
                <c:pt idx="94">
                  <c:v>44437</c:v>
                </c:pt>
                <c:pt idx="95">
                  <c:v>44438</c:v>
                </c:pt>
                <c:pt idx="96">
                  <c:v>44439</c:v>
                </c:pt>
                <c:pt idx="97">
                  <c:v>44440</c:v>
                </c:pt>
                <c:pt idx="98">
                  <c:v>44441</c:v>
                </c:pt>
                <c:pt idx="99">
                  <c:v>44442</c:v>
                </c:pt>
                <c:pt idx="100">
                  <c:v>44443</c:v>
                </c:pt>
                <c:pt idx="101">
                  <c:v>44444</c:v>
                </c:pt>
                <c:pt idx="102">
                  <c:v>44445</c:v>
                </c:pt>
                <c:pt idx="103">
                  <c:v>44446</c:v>
                </c:pt>
                <c:pt idx="104">
                  <c:v>44447</c:v>
                </c:pt>
                <c:pt idx="105">
                  <c:v>44448</c:v>
                </c:pt>
                <c:pt idx="106">
                  <c:v>44449</c:v>
                </c:pt>
                <c:pt idx="107">
                  <c:v>44450</c:v>
                </c:pt>
                <c:pt idx="108">
                  <c:v>44451</c:v>
                </c:pt>
                <c:pt idx="109">
                  <c:v>44452</c:v>
                </c:pt>
                <c:pt idx="110">
                  <c:v>44453</c:v>
                </c:pt>
                <c:pt idx="111">
                  <c:v>44454</c:v>
                </c:pt>
                <c:pt idx="112">
                  <c:v>44455</c:v>
                </c:pt>
                <c:pt idx="113">
                  <c:v>44456</c:v>
                </c:pt>
                <c:pt idx="114">
                  <c:v>44457</c:v>
                </c:pt>
                <c:pt idx="115">
                  <c:v>44458</c:v>
                </c:pt>
                <c:pt idx="116">
                  <c:v>44459</c:v>
                </c:pt>
                <c:pt idx="117">
                  <c:v>44460</c:v>
                </c:pt>
                <c:pt idx="118">
                  <c:v>44461</c:v>
                </c:pt>
                <c:pt idx="119">
                  <c:v>44462</c:v>
                </c:pt>
                <c:pt idx="120">
                  <c:v>44463</c:v>
                </c:pt>
                <c:pt idx="121">
                  <c:v>44464</c:v>
                </c:pt>
                <c:pt idx="122">
                  <c:v>44465</c:v>
                </c:pt>
                <c:pt idx="123">
                  <c:v>44466</c:v>
                </c:pt>
                <c:pt idx="124">
                  <c:v>44467</c:v>
                </c:pt>
                <c:pt idx="125">
                  <c:v>44468</c:v>
                </c:pt>
                <c:pt idx="126">
                  <c:v>44469</c:v>
                </c:pt>
                <c:pt idx="127">
                  <c:v>44470</c:v>
                </c:pt>
                <c:pt idx="128">
                  <c:v>44471</c:v>
                </c:pt>
                <c:pt idx="129">
                  <c:v>44472</c:v>
                </c:pt>
                <c:pt idx="130">
                  <c:v>44473</c:v>
                </c:pt>
                <c:pt idx="131">
                  <c:v>44474</c:v>
                </c:pt>
                <c:pt idx="132">
                  <c:v>44475</c:v>
                </c:pt>
                <c:pt idx="133">
                  <c:v>44476</c:v>
                </c:pt>
                <c:pt idx="134">
                  <c:v>44477</c:v>
                </c:pt>
                <c:pt idx="135">
                  <c:v>44478</c:v>
                </c:pt>
                <c:pt idx="136">
                  <c:v>44479</c:v>
                </c:pt>
                <c:pt idx="137">
                  <c:v>44480</c:v>
                </c:pt>
                <c:pt idx="138">
                  <c:v>44481</c:v>
                </c:pt>
                <c:pt idx="139">
                  <c:v>44482</c:v>
                </c:pt>
                <c:pt idx="140">
                  <c:v>44483</c:v>
                </c:pt>
                <c:pt idx="141">
                  <c:v>44484</c:v>
                </c:pt>
                <c:pt idx="142">
                  <c:v>44485</c:v>
                </c:pt>
                <c:pt idx="143">
                  <c:v>44486</c:v>
                </c:pt>
                <c:pt idx="144">
                  <c:v>44487</c:v>
                </c:pt>
                <c:pt idx="145">
                  <c:v>44488</c:v>
                </c:pt>
                <c:pt idx="146">
                  <c:v>44489</c:v>
                </c:pt>
                <c:pt idx="147">
                  <c:v>44490</c:v>
                </c:pt>
                <c:pt idx="148">
                  <c:v>44491</c:v>
                </c:pt>
                <c:pt idx="149">
                  <c:v>44492</c:v>
                </c:pt>
                <c:pt idx="150">
                  <c:v>44493</c:v>
                </c:pt>
                <c:pt idx="151">
                  <c:v>44494</c:v>
                </c:pt>
                <c:pt idx="152">
                  <c:v>44495</c:v>
                </c:pt>
                <c:pt idx="153">
                  <c:v>44496</c:v>
                </c:pt>
                <c:pt idx="154">
                  <c:v>44497</c:v>
                </c:pt>
                <c:pt idx="155">
                  <c:v>44498</c:v>
                </c:pt>
                <c:pt idx="156">
                  <c:v>44499</c:v>
                </c:pt>
                <c:pt idx="157">
                  <c:v>44500</c:v>
                </c:pt>
                <c:pt idx="158">
                  <c:v>44501</c:v>
                </c:pt>
                <c:pt idx="159">
                  <c:v>44502</c:v>
                </c:pt>
                <c:pt idx="160">
                  <c:v>44503</c:v>
                </c:pt>
                <c:pt idx="161">
                  <c:v>44504</c:v>
                </c:pt>
                <c:pt idx="162">
                  <c:v>44505</c:v>
                </c:pt>
                <c:pt idx="163">
                  <c:v>44506</c:v>
                </c:pt>
                <c:pt idx="164">
                  <c:v>44507</c:v>
                </c:pt>
                <c:pt idx="165">
                  <c:v>44508</c:v>
                </c:pt>
                <c:pt idx="166">
                  <c:v>44509</c:v>
                </c:pt>
                <c:pt idx="167">
                  <c:v>44510</c:v>
                </c:pt>
                <c:pt idx="168">
                  <c:v>44511</c:v>
                </c:pt>
                <c:pt idx="169">
                  <c:v>44512</c:v>
                </c:pt>
                <c:pt idx="170">
                  <c:v>44513</c:v>
                </c:pt>
                <c:pt idx="171">
                  <c:v>44514</c:v>
                </c:pt>
                <c:pt idx="172">
                  <c:v>44515</c:v>
                </c:pt>
                <c:pt idx="173">
                  <c:v>44516</c:v>
                </c:pt>
                <c:pt idx="174">
                  <c:v>44517</c:v>
                </c:pt>
                <c:pt idx="175">
                  <c:v>44518</c:v>
                </c:pt>
                <c:pt idx="176">
                  <c:v>44519</c:v>
                </c:pt>
                <c:pt idx="177">
                  <c:v>44520</c:v>
                </c:pt>
                <c:pt idx="178">
                  <c:v>44521</c:v>
                </c:pt>
                <c:pt idx="179">
                  <c:v>44522</c:v>
                </c:pt>
                <c:pt idx="180">
                  <c:v>44523</c:v>
                </c:pt>
                <c:pt idx="181">
                  <c:v>44524</c:v>
                </c:pt>
                <c:pt idx="182">
                  <c:v>44525</c:v>
                </c:pt>
              </c:numCache>
            </c:numRef>
          </c:cat>
          <c:val>
            <c:numRef>
              <c:f>Sheet1!$B$2:$B$184</c:f>
              <c:numCache>
                <c:formatCode>#\ ##0_ ;\-#\ ##0\ </c:formatCode>
                <c:ptCount val="183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1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1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1</c:v>
                </c:pt>
                <c:pt idx="62">
                  <c:v>2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1</c:v>
                </c:pt>
                <c:pt idx="74">
                  <c:v>0</c:v>
                </c:pt>
                <c:pt idx="75">
                  <c:v>0</c:v>
                </c:pt>
                <c:pt idx="76">
                  <c:v>1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1</c:v>
                </c:pt>
                <c:pt idx="89">
                  <c:v>0</c:v>
                </c:pt>
                <c:pt idx="90">
                  <c:v>0</c:v>
                </c:pt>
                <c:pt idx="91">
                  <c:v>1</c:v>
                </c:pt>
                <c:pt idx="92">
                  <c:v>1</c:v>
                </c:pt>
                <c:pt idx="93">
                  <c:v>1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2</c:v>
                </c:pt>
                <c:pt idx="98">
                  <c:v>1</c:v>
                </c:pt>
                <c:pt idx="99">
                  <c:v>1</c:v>
                </c:pt>
                <c:pt idx="100">
                  <c:v>0</c:v>
                </c:pt>
                <c:pt idx="101">
                  <c:v>0</c:v>
                </c:pt>
                <c:pt idx="102">
                  <c:v>1</c:v>
                </c:pt>
                <c:pt idx="103">
                  <c:v>2</c:v>
                </c:pt>
                <c:pt idx="104">
                  <c:v>1</c:v>
                </c:pt>
                <c:pt idx="105">
                  <c:v>1</c:v>
                </c:pt>
                <c:pt idx="106">
                  <c:v>0</c:v>
                </c:pt>
                <c:pt idx="107">
                  <c:v>0</c:v>
                </c:pt>
                <c:pt idx="108">
                  <c:v>1</c:v>
                </c:pt>
                <c:pt idx="109">
                  <c:v>0</c:v>
                </c:pt>
                <c:pt idx="110">
                  <c:v>1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1</c:v>
                </c:pt>
                <c:pt idx="115">
                  <c:v>0</c:v>
                </c:pt>
                <c:pt idx="116">
                  <c:v>4</c:v>
                </c:pt>
                <c:pt idx="117">
                  <c:v>3</c:v>
                </c:pt>
                <c:pt idx="118">
                  <c:v>2</c:v>
                </c:pt>
                <c:pt idx="119">
                  <c:v>0</c:v>
                </c:pt>
                <c:pt idx="120">
                  <c:v>0</c:v>
                </c:pt>
                <c:pt idx="121">
                  <c:v>1</c:v>
                </c:pt>
                <c:pt idx="122">
                  <c:v>0</c:v>
                </c:pt>
                <c:pt idx="123">
                  <c:v>5</c:v>
                </c:pt>
                <c:pt idx="124">
                  <c:v>2</c:v>
                </c:pt>
                <c:pt idx="125">
                  <c:v>7</c:v>
                </c:pt>
                <c:pt idx="126">
                  <c:v>3</c:v>
                </c:pt>
                <c:pt idx="127">
                  <c:v>2</c:v>
                </c:pt>
                <c:pt idx="128">
                  <c:v>0</c:v>
                </c:pt>
                <c:pt idx="129">
                  <c:v>0</c:v>
                </c:pt>
                <c:pt idx="130">
                  <c:v>3</c:v>
                </c:pt>
                <c:pt idx="131">
                  <c:v>5</c:v>
                </c:pt>
                <c:pt idx="132">
                  <c:v>2</c:v>
                </c:pt>
                <c:pt idx="133">
                  <c:v>1</c:v>
                </c:pt>
                <c:pt idx="134">
                  <c:v>2</c:v>
                </c:pt>
                <c:pt idx="135">
                  <c:v>1</c:v>
                </c:pt>
                <c:pt idx="136">
                  <c:v>0</c:v>
                </c:pt>
                <c:pt idx="137">
                  <c:v>2</c:v>
                </c:pt>
                <c:pt idx="138">
                  <c:v>3</c:v>
                </c:pt>
                <c:pt idx="139">
                  <c:v>1</c:v>
                </c:pt>
                <c:pt idx="140">
                  <c:v>3</c:v>
                </c:pt>
                <c:pt idx="141">
                  <c:v>6</c:v>
                </c:pt>
                <c:pt idx="142">
                  <c:v>2</c:v>
                </c:pt>
                <c:pt idx="143">
                  <c:v>1</c:v>
                </c:pt>
                <c:pt idx="144">
                  <c:v>12</c:v>
                </c:pt>
                <c:pt idx="145">
                  <c:v>7</c:v>
                </c:pt>
                <c:pt idx="146">
                  <c:v>9</c:v>
                </c:pt>
                <c:pt idx="147">
                  <c:v>7</c:v>
                </c:pt>
                <c:pt idx="148">
                  <c:v>10</c:v>
                </c:pt>
                <c:pt idx="149">
                  <c:v>0</c:v>
                </c:pt>
                <c:pt idx="150">
                  <c:v>3</c:v>
                </c:pt>
                <c:pt idx="151">
                  <c:v>17</c:v>
                </c:pt>
                <c:pt idx="152">
                  <c:v>5</c:v>
                </c:pt>
                <c:pt idx="153">
                  <c:v>15</c:v>
                </c:pt>
                <c:pt idx="154">
                  <c:v>3</c:v>
                </c:pt>
                <c:pt idx="155">
                  <c:v>8</c:v>
                </c:pt>
                <c:pt idx="156">
                  <c:v>5</c:v>
                </c:pt>
                <c:pt idx="157">
                  <c:v>4</c:v>
                </c:pt>
                <c:pt idx="158">
                  <c:v>39</c:v>
                </c:pt>
                <c:pt idx="159">
                  <c:v>23</c:v>
                </c:pt>
                <c:pt idx="160" formatCode="General">
                  <c:v>19</c:v>
                </c:pt>
                <c:pt idx="161" formatCode="General">
                  <c:v>24</c:v>
                </c:pt>
                <c:pt idx="162" formatCode="General">
                  <c:v>24</c:v>
                </c:pt>
                <c:pt idx="163" formatCode="General">
                  <c:v>11</c:v>
                </c:pt>
                <c:pt idx="164" formatCode="General">
                  <c:v>5</c:v>
                </c:pt>
                <c:pt idx="165" formatCode="General">
                  <c:v>35</c:v>
                </c:pt>
                <c:pt idx="166" formatCode="General">
                  <c:v>28</c:v>
                </c:pt>
                <c:pt idx="167" formatCode="General">
                  <c:v>35</c:v>
                </c:pt>
                <c:pt idx="168" formatCode="General">
                  <c:v>35</c:v>
                </c:pt>
                <c:pt idx="169" formatCode="General">
                  <c:v>32</c:v>
                </c:pt>
                <c:pt idx="170" formatCode="General">
                  <c:v>23</c:v>
                </c:pt>
                <c:pt idx="171" formatCode="General">
                  <c:v>15</c:v>
                </c:pt>
                <c:pt idx="172" formatCode="General">
                  <c:v>43</c:v>
                </c:pt>
                <c:pt idx="173" formatCode="General">
                  <c:v>52</c:v>
                </c:pt>
                <c:pt idx="174" formatCode="General">
                  <c:v>15</c:v>
                </c:pt>
                <c:pt idx="175" formatCode="General">
                  <c:v>40</c:v>
                </c:pt>
                <c:pt idx="176" formatCode="General">
                  <c:v>62</c:v>
                </c:pt>
                <c:pt idx="177" formatCode="General">
                  <c:v>25</c:v>
                </c:pt>
                <c:pt idx="178" formatCode="General">
                  <c:v>8</c:v>
                </c:pt>
                <c:pt idx="179" formatCode="General">
                  <c:v>47</c:v>
                </c:pt>
                <c:pt idx="180" formatCode="General">
                  <c:v>52</c:v>
                </c:pt>
                <c:pt idx="181" formatCode="General">
                  <c:v>43</c:v>
                </c:pt>
                <c:pt idx="182" formatCode="General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2B-4678-9FFD-46841F3CB3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  <c:majorUnit val="7"/>
        <c:majorTimeUnit val="days"/>
      </c:dateAx>
      <c:valAx>
        <c:axId val="533925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29925759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O$1:$AA$1</c:f>
              <c:strCache>
                <c:ptCount val="13"/>
                <c:pt idx="0">
                  <c:v>27.08 - 02.09</c:v>
                </c:pt>
                <c:pt idx="1">
                  <c:v>03.09 - 09.09</c:v>
                </c:pt>
                <c:pt idx="2">
                  <c:v>10.09 - 16.09</c:v>
                </c:pt>
                <c:pt idx="3">
                  <c:v>17.09 - 23.09</c:v>
                </c:pt>
                <c:pt idx="4">
                  <c:v>24.09 - 30.09</c:v>
                </c:pt>
                <c:pt idx="5">
                  <c:v>01.10 - 07.10</c:v>
                </c:pt>
                <c:pt idx="6">
                  <c:v>08.10 - 14.10</c:v>
                </c:pt>
                <c:pt idx="7">
                  <c:v>15.10 - 21.10</c:v>
                </c:pt>
                <c:pt idx="8">
                  <c:v>22.10 - 28.10</c:v>
                </c:pt>
                <c:pt idx="9">
                  <c:v>29.10 - 04.11</c:v>
                </c:pt>
                <c:pt idx="10">
                  <c:v>05.11 - 11.11</c:v>
                </c:pt>
                <c:pt idx="11">
                  <c:v>12.11 - 18.11</c:v>
                </c:pt>
                <c:pt idx="12">
                  <c:v>19.11 - 25.11</c:v>
                </c:pt>
              </c:strCache>
            </c:strRef>
          </c:cat>
          <c:val>
            <c:numRef>
              <c:f>List1!$O$2:$AA$2</c:f>
              <c:numCache>
                <c:formatCode>General</c:formatCode>
                <c:ptCount val="13"/>
                <c:pt idx="0">
                  <c:v>0.4874482</c:v>
                </c:pt>
                <c:pt idx="1">
                  <c:v>0.69635449999999999</c:v>
                </c:pt>
                <c:pt idx="2">
                  <c:v>1.2534381999999999</c:v>
                </c:pt>
                <c:pt idx="3">
                  <c:v>2.6461473999999998</c:v>
                </c:pt>
                <c:pt idx="4">
                  <c:v>8.6347968000000002</c:v>
                </c:pt>
                <c:pt idx="5">
                  <c:v>48.6055499</c:v>
                </c:pt>
                <c:pt idx="6">
                  <c:v>103.75683290000001</c:v>
                </c:pt>
                <c:pt idx="7">
                  <c:v>166.42874549999999</c:v>
                </c:pt>
                <c:pt idx="8">
                  <c:v>243.30629149999999</c:v>
                </c:pt>
                <c:pt idx="9">
                  <c:v>271.43901670000002</c:v>
                </c:pt>
                <c:pt idx="10">
                  <c:v>186.4837575</c:v>
                </c:pt>
                <c:pt idx="11">
                  <c:v>127.7114306</c:v>
                </c:pt>
                <c:pt idx="12">
                  <c:v>88.1584902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609-4D55-AD38-109C0C8C5BC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O$1:$AA$1</c:f>
              <c:strCache>
                <c:ptCount val="13"/>
                <c:pt idx="0">
                  <c:v>27.08 - 02.09</c:v>
                </c:pt>
                <c:pt idx="1">
                  <c:v>03.09 - 09.09</c:v>
                </c:pt>
                <c:pt idx="2">
                  <c:v>10.09 - 16.09</c:v>
                </c:pt>
                <c:pt idx="3">
                  <c:v>17.09 - 23.09</c:v>
                </c:pt>
                <c:pt idx="4">
                  <c:v>24.09 - 30.09</c:v>
                </c:pt>
                <c:pt idx="5">
                  <c:v>01.10 - 07.10</c:v>
                </c:pt>
                <c:pt idx="6">
                  <c:v>08.10 - 14.10</c:v>
                </c:pt>
                <c:pt idx="7">
                  <c:v>15.10 - 21.10</c:v>
                </c:pt>
                <c:pt idx="8">
                  <c:v>22.10 - 28.10</c:v>
                </c:pt>
                <c:pt idx="9">
                  <c:v>29.10 - 04.11</c:v>
                </c:pt>
                <c:pt idx="10">
                  <c:v>05.11 - 11.11</c:v>
                </c:pt>
                <c:pt idx="11">
                  <c:v>12.11 - 18.11</c:v>
                </c:pt>
                <c:pt idx="12">
                  <c:v>19.11 - 25.11</c:v>
                </c:pt>
              </c:strCache>
            </c:strRef>
          </c:cat>
          <c:val>
            <c:numRef>
              <c:f>List1!$O$3:$AA$3</c:f>
              <c:numCache>
                <c:formatCode>General</c:formatCode>
                <c:ptCount val="13"/>
                <c:pt idx="0">
                  <c:v>0.69635449999999999</c:v>
                </c:pt>
                <c:pt idx="1">
                  <c:v>0.83562550000000002</c:v>
                </c:pt>
                <c:pt idx="2">
                  <c:v>0.27854180000000001</c:v>
                </c:pt>
                <c:pt idx="3">
                  <c:v>1.3927091</c:v>
                </c:pt>
                <c:pt idx="4">
                  <c:v>2.5068765000000002</c:v>
                </c:pt>
                <c:pt idx="5">
                  <c:v>1.8105218999999999</c:v>
                </c:pt>
                <c:pt idx="6">
                  <c:v>1.671251</c:v>
                </c:pt>
                <c:pt idx="7">
                  <c:v>6.1279203000000004</c:v>
                </c:pt>
                <c:pt idx="8">
                  <c:v>7.3813585000000002</c:v>
                </c:pt>
                <c:pt idx="9">
                  <c:v>16.991051800000001</c:v>
                </c:pt>
                <c:pt idx="10">
                  <c:v>24.093868499999999</c:v>
                </c:pt>
                <c:pt idx="11">
                  <c:v>30.639601599999999</c:v>
                </c:pt>
                <c:pt idx="12">
                  <c:v>36.7675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609-4D55-AD38-109C0C8C5B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Královéhradecký kraj</c:v>
                </c:pt>
                <c:pt idx="2">
                  <c:v>Liberecký kraj</c:v>
                </c:pt>
                <c:pt idx="3">
                  <c:v>Kraj Vysočina</c:v>
                </c:pt>
                <c:pt idx="4">
                  <c:v>Středočeský kraj</c:v>
                </c:pt>
                <c:pt idx="5">
                  <c:v>Ústecký kraj</c:v>
                </c:pt>
                <c:pt idx="6">
                  <c:v>Pardubický kraj</c:v>
                </c:pt>
                <c:pt idx="7">
                  <c:v>Hlavní město Praha</c:v>
                </c:pt>
                <c:pt idx="8">
                  <c:v>Jihočeský kraj</c:v>
                </c:pt>
                <c:pt idx="9">
                  <c:v>ČR</c:v>
                </c:pt>
                <c:pt idx="10">
                  <c:v>Olomoucký kraj</c:v>
                </c:pt>
                <c:pt idx="11">
                  <c:v>Jihomoravský kraj</c:v>
                </c:pt>
                <c:pt idx="12">
                  <c:v>Zlínský kraj</c:v>
                </c:pt>
                <c:pt idx="13">
                  <c:v>Karlovarský kraj</c:v>
                </c:pt>
                <c:pt idx="14">
                  <c:v>Moravskoslez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93.14255</c:v>
                </c:pt>
                <c:pt idx="1">
                  <c:v>89.838220000000007</c:v>
                </c:pt>
                <c:pt idx="2">
                  <c:v>89.606300000000005</c:v>
                </c:pt>
                <c:pt idx="3">
                  <c:v>89.529589999999999</c:v>
                </c:pt>
                <c:pt idx="4">
                  <c:v>89.281469999999999</c:v>
                </c:pt>
                <c:pt idx="5">
                  <c:v>88.824659999999994</c:v>
                </c:pt>
                <c:pt idx="6">
                  <c:v>88.780850000000001</c:v>
                </c:pt>
                <c:pt idx="7">
                  <c:v>88.626140000000007</c:v>
                </c:pt>
                <c:pt idx="8">
                  <c:v>88.596490000000003</c:v>
                </c:pt>
                <c:pt idx="9">
                  <c:v>87.38185</c:v>
                </c:pt>
                <c:pt idx="10">
                  <c:v>86.791589999999999</c:v>
                </c:pt>
                <c:pt idx="11">
                  <c:v>84.434389999999993</c:v>
                </c:pt>
                <c:pt idx="12">
                  <c:v>84.07311</c:v>
                </c:pt>
                <c:pt idx="13">
                  <c:v>83.971630000000005</c:v>
                </c:pt>
                <c:pt idx="14">
                  <c:v>83.26967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38-498E-AF17-8F5778D625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in val="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Plzeňský kraj</c:v>
                </c:pt>
                <c:pt idx="2">
                  <c:v>Středočeský kraj</c:v>
                </c:pt>
                <c:pt idx="3">
                  <c:v>Kraj Vysočina</c:v>
                </c:pt>
                <c:pt idx="4">
                  <c:v>Hlavní město Praha</c:v>
                </c:pt>
                <c:pt idx="5">
                  <c:v>Královéhradecký kraj</c:v>
                </c:pt>
                <c:pt idx="6">
                  <c:v>Karlovarský kraj</c:v>
                </c:pt>
                <c:pt idx="7">
                  <c:v>Jihočeský kraj</c:v>
                </c:pt>
                <c:pt idx="8">
                  <c:v>ČR</c:v>
                </c:pt>
                <c:pt idx="9">
                  <c:v>Liberecký kraj</c:v>
                </c:pt>
                <c:pt idx="10">
                  <c:v>Jihomoravský kraj</c:v>
                </c:pt>
                <c:pt idx="11">
                  <c:v>Pardubický kraj</c:v>
                </c:pt>
                <c:pt idx="12">
                  <c:v>Moravskoslezský kraj</c:v>
                </c:pt>
                <c:pt idx="13">
                  <c:v>Zlín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86.989680000000007</c:v>
                </c:pt>
                <c:pt idx="1">
                  <c:v>86.748670000000004</c:v>
                </c:pt>
                <c:pt idx="2">
                  <c:v>85.977459999999994</c:v>
                </c:pt>
                <c:pt idx="3">
                  <c:v>85.68647</c:v>
                </c:pt>
                <c:pt idx="4">
                  <c:v>85.056889999999996</c:v>
                </c:pt>
                <c:pt idx="5">
                  <c:v>84.759219999999999</c:v>
                </c:pt>
                <c:pt idx="6">
                  <c:v>83.089770000000001</c:v>
                </c:pt>
                <c:pt idx="7">
                  <c:v>82.690790000000007</c:v>
                </c:pt>
                <c:pt idx="8">
                  <c:v>82.187049999999999</c:v>
                </c:pt>
                <c:pt idx="9">
                  <c:v>81.569599999999994</c:v>
                </c:pt>
                <c:pt idx="10">
                  <c:v>80.850089999999994</c:v>
                </c:pt>
                <c:pt idx="11">
                  <c:v>78.892110000000002</c:v>
                </c:pt>
                <c:pt idx="12">
                  <c:v>76.959680000000006</c:v>
                </c:pt>
                <c:pt idx="13">
                  <c:v>76.714749999999995</c:v>
                </c:pt>
                <c:pt idx="14">
                  <c:v>75.04591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40-47DE-ACA1-8E4053576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ax val="10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6</c:f>
              <c:strCache>
                <c:ptCount val="35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36 Ošetřovatel</c:v>
                </c:pt>
                <c:pt idx="6">
                  <c:v>§ 18 Zdravotnický záchranář</c:v>
                </c:pt>
                <c:pt idx="7">
                  <c:v>§ 39 Zubní instrumentářka</c:v>
                </c:pt>
                <c:pt idx="8">
                  <c:v>§ 8 Radiologický asistent</c:v>
                </c:pt>
                <c:pt idx="9">
                  <c:v>§ 26 Odborný pracovník v laboratorních metodách a v přípravě léčivých přípravků</c:v>
                </c:pt>
                <c:pt idx="10">
                  <c:v>§ 16 Zubní technik</c:v>
                </c:pt>
                <c:pt idx="11">
                  <c:v>§ 40 Řidič zdravotnické dopravní služby</c:v>
                </c:pt>
                <c:pt idx="12">
                  <c:v>§ 35 Řidič vozidla zdravotnické záchranné služby</c:v>
                </c:pt>
                <c:pt idx="13">
                  <c:v>§ 17 Dentální hygienistka</c:v>
                </c:pt>
                <c:pt idx="14">
                  <c:v>§ 22 Psycholog ve zdravotnictví</c:v>
                </c:pt>
                <c:pt idx="15">
                  <c:v>§ 37 Masér ve zdravotnictví, nevidomý a slabozraký masér ve zdravotnictví</c:v>
                </c:pt>
                <c:pt idx="16">
                  <c:v>§ 15 Nutriční terapeut</c:v>
                </c:pt>
                <c:pt idx="17">
                  <c:v>§ 11 Optometrista</c:v>
                </c:pt>
                <c:pt idx="18">
                  <c:v>§ 10 Zdravotně-sociální pracovník</c:v>
                </c:pt>
                <c:pt idx="19">
                  <c:v>§ 7 Ergoterapeut</c:v>
                </c:pt>
                <c:pt idx="20">
                  <c:v>§ 30 Laboratorní asistent</c:v>
                </c:pt>
                <c:pt idx="21">
                  <c:v>§ 23 Logoped ve zdravotnictví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1a Adiktolog</c:v>
                </c:pt>
                <c:pt idx="25">
                  <c:v>§ 28 Odborný pracovník v ochraně a podpoře veřejného zdraví</c:v>
                </c:pt>
                <c:pt idx="26">
                  <c:v>§ 13 Asistent ochrany a podpory veřejného zdraví</c:v>
                </c:pt>
                <c:pt idx="27">
                  <c:v>§ 14 Ortotik-protetik</c:v>
                </c:pt>
                <c:pt idx="28">
                  <c:v>§ 25 Radiologický fyz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1 Ortoticko-protetický technik</c:v>
                </c:pt>
                <c:pt idx="32">
                  <c:v>§ 32 Nutriční asistent</c:v>
                </c:pt>
                <c:pt idx="33">
                  <c:v>§ 41 Autoptický laborant</c:v>
                </c:pt>
                <c:pt idx="34">
                  <c:v>§ 21 Radiologický technik</c:v>
                </c:pt>
              </c:strCache>
            </c:strRef>
          </c:cat>
          <c:val>
            <c:numRef>
              <c:f>List1!$B$2:$B$36</c:f>
              <c:numCache>
                <c:formatCode>General</c:formatCode>
                <c:ptCount val="35"/>
                <c:pt idx="0">
                  <c:v>3037</c:v>
                </c:pt>
                <c:pt idx="1">
                  <c:v>1340</c:v>
                </c:pt>
                <c:pt idx="2">
                  <c:v>1121</c:v>
                </c:pt>
                <c:pt idx="3">
                  <c:v>973</c:v>
                </c:pt>
                <c:pt idx="4">
                  <c:v>912</c:v>
                </c:pt>
                <c:pt idx="5">
                  <c:v>697</c:v>
                </c:pt>
                <c:pt idx="6">
                  <c:v>502</c:v>
                </c:pt>
                <c:pt idx="7">
                  <c:v>493</c:v>
                </c:pt>
                <c:pt idx="8">
                  <c:v>409</c:v>
                </c:pt>
                <c:pt idx="9">
                  <c:v>368</c:v>
                </c:pt>
                <c:pt idx="10">
                  <c:v>362</c:v>
                </c:pt>
                <c:pt idx="11">
                  <c:v>299</c:v>
                </c:pt>
                <c:pt idx="12">
                  <c:v>230</c:v>
                </c:pt>
                <c:pt idx="13">
                  <c:v>175</c:v>
                </c:pt>
                <c:pt idx="14">
                  <c:v>172</c:v>
                </c:pt>
                <c:pt idx="15">
                  <c:v>153</c:v>
                </c:pt>
                <c:pt idx="16">
                  <c:v>118</c:v>
                </c:pt>
                <c:pt idx="17">
                  <c:v>117</c:v>
                </c:pt>
                <c:pt idx="18">
                  <c:v>112</c:v>
                </c:pt>
                <c:pt idx="19">
                  <c:v>103</c:v>
                </c:pt>
                <c:pt idx="20">
                  <c:v>95</c:v>
                </c:pt>
                <c:pt idx="21">
                  <c:v>93</c:v>
                </c:pt>
                <c:pt idx="22">
                  <c:v>52</c:v>
                </c:pt>
                <c:pt idx="23">
                  <c:v>39</c:v>
                </c:pt>
                <c:pt idx="24">
                  <c:v>27</c:v>
                </c:pt>
                <c:pt idx="25">
                  <c:v>27</c:v>
                </c:pt>
                <c:pt idx="26">
                  <c:v>18</c:v>
                </c:pt>
                <c:pt idx="27">
                  <c:v>16</c:v>
                </c:pt>
                <c:pt idx="28">
                  <c:v>13</c:v>
                </c:pt>
                <c:pt idx="29">
                  <c:v>12</c:v>
                </c:pt>
                <c:pt idx="30">
                  <c:v>8</c:v>
                </c:pt>
                <c:pt idx="31">
                  <c:v>7</c:v>
                </c:pt>
                <c:pt idx="32">
                  <c:v>6</c:v>
                </c:pt>
                <c:pt idx="33">
                  <c:v>2</c:v>
                </c:pt>
                <c:pt idx="3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4</c:f>
              <c:strCache>
                <c:ptCount val="33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36 Ošetřovatel</c:v>
                </c:pt>
                <c:pt idx="6">
                  <c:v>§ 39 Zubní instrumentářka</c:v>
                </c:pt>
                <c:pt idx="7">
                  <c:v>§ 26 Odborný pracovník v laboratorních metodách a v přípravě léčivých přípravků</c:v>
                </c:pt>
                <c:pt idx="8">
                  <c:v>§ 18 Zdravotnický záchranář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40 Řidič zdravotnické dopravní služby</c:v>
                </c:pt>
                <c:pt idx="12">
                  <c:v>§ 22 Psycholog ve zdravotnictví</c:v>
                </c:pt>
                <c:pt idx="13">
                  <c:v>§ 35 Řidič vozidla zdravotnické záchranné služby</c:v>
                </c:pt>
                <c:pt idx="14">
                  <c:v>§ 17 Dentální hygienistka</c:v>
                </c:pt>
                <c:pt idx="15">
                  <c:v>§ 23 Logoped ve zdravotnictví</c:v>
                </c:pt>
                <c:pt idx="16">
                  <c:v>§ 37 Masér ve zdravotnictví, nevidomý a slabozraký masér ve zdravotnictví</c:v>
                </c:pt>
                <c:pt idx="17">
                  <c:v>§ 15 Nutriční terapeut</c:v>
                </c:pt>
                <c:pt idx="18">
                  <c:v>§ 11 Optometrista</c:v>
                </c:pt>
                <c:pt idx="19">
                  <c:v>§ 10 Zdravotně-sociální pracovník</c:v>
                </c:pt>
                <c:pt idx="20">
                  <c:v>§ 7 Ergoterapeut</c:v>
                </c:pt>
                <c:pt idx="21">
                  <c:v>§ 30 Laboratorní asistent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1a Adiktolog</c:v>
                </c:pt>
                <c:pt idx="25">
                  <c:v>§ 28 Odborný pracovník v ochraně a podpoře veřejného zdraví</c:v>
                </c:pt>
                <c:pt idx="26">
                  <c:v>§ 25 Radiologický fyzik</c:v>
                </c:pt>
                <c:pt idx="27">
                  <c:v>§ 13 Asistent ochrany a podpory veřejného zdraví</c:v>
                </c:pt>
                <c:pt idx="28">
                  <c:v>§ 12 Ortoptista</c:v>
                </c:pt>
                <c:pt idx="29">
                  <c:v>§ 14 Ortotik-protetik</c:v>
                </c:pt>
                <c:pt idx="30">
                  <c:v>§ 20 Biomedicínský technik</c:v>
                </c:pt>
                <c:pt idx="31">
                  <c:v>§ 32 Nutriční asistent</c:v>
                </c:pt>
                <c:pt idx="32">
                  <c:v>§ 41 Autoptický laborant</c:v>
                </c:pt>
              </c:strCache>
            </c:strRef>
          </c:cat>
          <c:val>
            <c:numRef>
              <c:f>List1!$B$2:$B$34</c:f>
              <c:numCache>
                <c:formatCode>General</c:formatCode>
                <c:ptCount val="33"/>
                <c:pt idx="0">
                  <c:v>694</c:v>
                </c:pt>
                <c:pt idx="1">
                  <c:v>415</c:v>
                </c:pt>
                <c:pt idx="2">
                  <c:v>354</c:v>
                </c:pt>
                <c:pt idx="3">
                  <c:v>341</c:v>
                </c:pt>
                <c:pt idx="4">
                  <c:v>252</c:v>
                </c:pt>
                <c:pt idx="5">
                  <c:v>162</c:v>
                </c:pt>
                <c:pt idx="6">
                  <c:v>144</c:v>
                </c:pt>
                <c:pt idx="7">
                  <c:v>140</c:v>
                </c:pt>
                <c:pt idx="8">
                  <c:v>128</c:v>
                </c:pt>
                <c:pt idx="9">
                  <c:v>116</c:v>
                </c:pt>
                <c:pt idx="10">
                  <c:v>102</c:v>
                </c:pt>
                <c:pt idx="11">
                  <c:v>77</c:v>
                </c:pt>
                <c:pt idx="12">
                  <c:v>62</c:v>
                </c:pt>
                <c:pt idx="13">
                  <c:v>50</c:v>
                </c:pt>
                <c:pt idx="14">
                  <c:v>46</c:v>
                </c:pt>
                <c:pt idx="15">
                  <c:v>39</c:v>
                </c:pt>
                <c:pt idx="16">
                  <c:v>39</c:v>
                </c:pt>
                <c:pt idx="17">
                  <c:v>37</c:v>
                </c:pt>
                <c:pt idx="18">
                  <c:v>35</c:v>
                </c:pt>
                <c:pt idx="19">
                  <c:v>32</c:v>
                </c:pt>
                <c:pt idx="20">
                  <c:v>31</c:v>
                </c:pt>
                <c:pt idx="21">
                  <c:v>30</c:v>
                </c:pt>
                <c:pt idx="22">
                  <c:v>17</c:v>
                </c:pt>
                <c:pt idx="23">
                  <c:v>15</c:v>
                </c:pt>
                <c:pt idx="24">
                  <c:v>10</c:v>
                </c:pt>
                <c:pt idx="25">
                  <c:v>8</c:v>
                </c:pt>
                <c:pt idx="26">
                  <c:v>7</c:v>
                </c:pt>
                <c:pt idx="27">
                  <c:v>6</c:v>
                </c:pt>
                <c:pt idx="28">
                  <c:v>4</c:v>
                </c:pt>
                <c:pt idx="29">
                  <c:v>4</c:v>
                </c:pt>
                <c:pt idx="30">
                  <c:v>4</c:v>
                </c:pt>
                <c:pt idx="31">
                  <c:v>1</c:v>
                </c:pt>
                <c:pt idx="3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6350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2.564406152739097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27.05.21</c:v>
                </c:pt>
                <c:pt idx="1">
                  <c:v>28.05.21</c:v>
                </c:pt>
                <c:pt idx="2">
                  <c:v>29.05.21</c:v>
                </c:pt>
                <c:pt idx="3">
                  <c:v>30.05.21</c:v>
                </c:pt>
                <c:pt idx="4">
                  <c:v>31.05.21</c:v>
                </c:pt>
                <c:pt idx="5">
                  <c:v>01.06.21</c:v>
                </c:pt>
                <c:pt idx="6">
                  <c:v>02.06.21</c:v>
                </c:pt>
                <c:pt idx="7">
                  <c:v>03.06.21</c:v>
                </c:pt>
                <c:pt idx="8">
                  <c:v>04.06.21</c:v>
                </c:pt>
                <c:pt idx="9">
                  <c:v>05.06.21</c:v>
                </c:pt>
                <c:pt idx="10">
                  <c:v>06.06.21</c:v>
                </c:pt>
                <c:pt idx="11">
                  <c:v>07.06.21</c:v>
                </c:pt>
                <c:pt idx="12">
                  <c:v>08.06.21</c:v>
                </c:pt>
                <c:pt idx="13">
                  <c:v>09.06.21</c:v>
                </c:pt>
                <c:pt idx="14">
                  <c:v>10.06.21</c:v>
                </c:pt>
                <c:pt idx="15">
                  <c:v>11.06.21</c:v>
                </c:pt>
                <c:pt idx="16">
                  <c:v>12.06.21</c:v>
                </c:pt>
                <c:pt idx="17">
                  <c:v>13.06.21</c:v>
                </c:pt>
                <c:pt idx="18">
                  <c:v>14.06.21</c:v>
                </c:pt>
                <c:pt idx="19">
                  <c:v>15.06.21</c:v>
                </c:pt>
                <c:pt idx="20">
                  <c:v>16.06.21</c:v>
                </c:pt>
                <c:pt idx="21">
                  <c:v>17.06.21</c:v>
                </c:pt>
                <c:pt idx="22">
                  <c:v>18.06.21</c:v>
                </c:pt>
                <c:pt idx="23">
                  <c:v>19.06.21</c:v>
                </c:pt>
                <c:pt idx="24">
                  <c:v>20.06.21</c:v>
                </c:pt>
                <c:pt idx="25">
                  <c:v>21.06.21</c:v>
                </c:pt>
                <c:pt idx="26">
                  <c:v>22.06.21</c:v>
                </c:pt>
                <c:pt idx="27">
                  <c:v>23.06.21</c:v>
                </c:pt>
                <c:pt idx="28">
                  <c:v>24.06.21</c:v>
                </c:pt>
                <c:pt idx="29">
                  <c:v>25.06.21</c:v>
                </c:pt>
                <c:pt idx="30">
                  <c:v>26.06.21</c:v>
                </c:pt>
                <c:pt idx="31">
                  <c:v>27.06.21</c:v>
                </c:pt>
                <c:pt idx="32">
                  <c:v>28.06.21</c:v>
                </c:pt>
                <c:pt idx="33">
                  <c:v>29.06.21</c:v>
                </c:pt>
                <c:pt idx="34">
                  <c:v>30.06.21</c:v>
                </c:pt>
                <c:pt idx="35">
                  <c:v>01.07.21</c:v>
                </c:pt>
                <c:pt idx="36">
                  <c:v>02.07.21</c:v>
                </c:pt>
                <c:pt idx="37">
                  <c:v>03.07.21</c:v>
                </c:pt>
                <c:pt idx="38">
                  <c:v>04.07.21</c:v>
                </c:pt>
                <c:pt idx="39">
                  <c:v>05.07.21</c:v>
                </c:pt>
                <c:pt idx="40">
                  <c:v>06.07.21</c:v>
                </c:pt>
                <c:pt idx="41">
                  <c:v>07.07.21</c:v>
                </c:pt>
                <c:pt idx="42">
                  <c:v>08.07.21</c:v>
                </c:pt>
                <c:pt idx="43">
                  <c:v>09.07.21</c:v>
                </c:pt>
                <c:pt idx="44">
                  <c:v>10.07.21</c:v>
                </c:pt>
                <c:pt idx="45">
                  <c:v>11.07.21</c:v>
                </c:pt>
                <c:pt idx="46">
                  <c:v>12.07.21</c:v>
                </c:pt>
                <c:pt idx="47">
                  <c:v>13.07.21</c:v>
                </c:pt>
                <c:pt idx="48">
                  <c:v>14.07.21</c:v>
                </c:pt>
                <c:pt idx="49">
                  <c:v>15.07.21</c:v>
                </c:pt>
                <c:pt idx="50">
                  <c:v>16.07.21</c:v>
                </c:pt>
                <c:pt idx="51">
                  <c:v>17.07.21</c:v>
                </c:pt>
                <c:pt idx="52">
                  <c:v>18.07.21</c:v>
                </c:pt>
                <c:pt idx="53">
                  <c:v>19.07.21</c:v>
                </c:pt>
                <c:pt idx="54">
                  <c:v>20.07.21</c:v>
                </c:pt>
                <c:pt idx="55">
                  <c:v>21.07.21</c:v>
                </c:pt>
                <c:pt idx="56">
                  <c:v>22.07.21</c:v>
                </c:pt>
                <c:pt idx="57">
                  <c:v>23.07.21</c:v>
                </c:pt>
                <c:pt idx="58">
                  <c:v>24.07.21</c:v>
                </c:pt>
                <c:pt idx="59">
                  <c:v>25.07.21</c:v>
                </c:pt>
                <c:pt idx="60">
                  <c:v>26.07.21</c:v>
                </c:pt>
                <c:pt idx="61">
                  <c:v>27.07.21</c:v>
                </c:pt>
                <c:pt idx="62">
                  <c:v>28.07.21</c:v>
                </c:pt>
                <c:pt idx="63">
                  <c:v>29.07.21</c:v>
                </c:pt>
                <c:pt idx="64">
                  <c:v>30.07.21</c:v>
                </c:pt>
                <c:pt idx="65">
                  <c:v>31.07.21</c:v>
                </c:pt>
                <c:pt idx="66">
                  <c:v>01.08.21</c:v>
                </c:pt>
                <c:pt idx="67">
                  <c:v>02.08.21</c:v>
                </c:pt>
                <c:pt idx="68">
                  <c:v>03.08.21</c:v>
                </c:pt>
                <c:pt idx="69">
                  <c:v>04.08.21</c:v>
                </c:pt>
                <c:pt idx="70">
                  <c:v>05.08.21</c:v>
                </c:pt>
                <c:pt idx="71">
                  <c:v>06.08.21</c:v>
                </c:pt>
                <c:pt idx="72">
                  <c:v>07.08.21</c:v>
                </c:pt>
                <c:pt idx="73">
                  <c:v>08.08.21</c:v>
                </c:pt>
                <c:pt idx="74">
                  <c:v>09.08.21</c:v>
                </c:pt>
                <c:pt idx="75">
                  <c:v>10.08.21</c:v>
                </c:pt>
                <c:pt idx="76">
                  <c:v>11.08.21</c:v>
                </c:pt>
                <c:pt idx="77">
                  <c:v>12.08.21</c:v>
                </c:pt>
                <c:pt idx="78">
                  <c:v>13.08.21</c:v>
                </c:pt>
                <c:pt idx="79">
                  <c:v>14.08.21</c:v>
                </c:pt>
                <c:pt idx="80">
                  <c:v>15.08.21</c:v>
                </c:pt>
                <c:pt idx="81">
                  <c:v>16.08.21</c:v>
                </c:pt>
                <c:pt idx="82">
                  <c:v>17.08.21</c:v>
                </c:pt>
                <c:pt idx="83">
                  <c:v>18.08.21</c:v>
                </c:pt>
                <c:pt idx="84">
                  <c:v>19.08.21</c:v>
                </c:pt>
                <c:pt idx="85">
                  <c:v>20.08.21</c:v>
                </c:pt>
                <c:pt idx="86">
                  <c:v>21.08.21</c:v>
                </c:pt>
                <c:pt idx="87">
                  <c:v>22.08.21</c:v>
                </c:pt>
                <c:pt idx="88">
                  <c:v>23.08.21</c:v>
                </c:pt>
                <c:pt idx="89">
                  <c:v>24.08.21</c:v>
                </c:pt>
                <c:pt idx="90">
                  <c:v>25.08.21</c:v>
                </c:pt>
                <c:pt idx="91">
                  <c:v>26.08.21</c:v>
                </c:pt>
                <c:pt idx="92">
                  <c:v>27.08.21</c:v>
                </c:pt>
                <c:pt idx="93">
                  <c:v>28.08.21</c:v>
                </c:pt>
                <c:pt idx="94">
                  <c:v>29.08.21</c:v>
                </c:pt>
                <c:pt idx="95">
                  <c:v>30.08.21</c:v>
                </c:pt>
                <c:pt idx="96">
                  <c:v>31.08.21</c:v>
                </c:pt>
                <c:pt idx="97">
                  <c:v>01.09.21</c:v>
                </c:pt>
                <c:pt idx="98">
                  <c:v>02.09.21</c:v>
                </c:pt>
                <c:pt idx="99">
                  <c:v>03.09.21</c:v>
                </c:pt>
                <c:pt idx="100">
                  <c:v>04.09.21</c:v>
                </c:pt>
                <c:pt idx="101">
                  <c:v>05.09.21</c:v>
                </c:pt>
                <c:pt idx="102">
                  <c:v>06.09.21</c:v>
                </c:pt>
                <c:pt idx="103">
                  <c:v>07.09.21</c:v>
                </c:pt>
                <c:pt idx="104">
                  <c:v>08.09.21</c:v>
                </c:pt>
                <c:pt idx="105">
                  <c:v>09.09.21</c:v>
                </c:pt>
                <c:pt idx="106">
                  <c:v>10.09.21</c:v>
                </c:pt>
                <c:pt idx="107">
                  <c:v>11.09.21</c:v>
                </c:pt>
                <c:pt idx="108">
                  <c:v>12.09.21</c:v>
                </c:pt>
                <c:pt idx="109">
                  <c:v>13.09.21</c:v>
                </c:pt>
                <c:pt idx="110">
                  <c:v>14.09.21</c:v>
                </c:pt>
                <c:pt idx="111">
                  <c:v>15.09.21</c:v>
                </c:pt>
                <c:pt idx="112">
                  <c:v>16.09.21</c:v>
                </c:pt>
                <c:pt idx="113">
                  <c:v>17.09.21</c:v>
                </c:pt>
                <c:pt idx="114">
                  <c:v>18.09.21</c:v>
                </c:pt>
                <c:pt idx="115">
                  <c:v>19.09.21</c:v>
                </c:pt>
                <c:pt idx="116">
                  <c:v>20.09.21</c:v>
                </c:pt>
                <c:pt idx="117">
                  <c:v>21.09.21</c:v>
                </c:pt>
                <c:pt idx="118">
                  <c:v>22.09.21</c:v>
                </c:pt>
                <c:pt idx="119">
                  <c:v>23.09.21</c:v>
                </c:pt>
                <c:pt idx="120">
                  <c:v>24.09.21</c:v>
                </c:pt>
                <c:pt idx="121">
                  <c:v>25.09.21</c:v>
                </c:pt>
                <c:pt idx="122">
                  <c:v>26.09.21</c:v>
                </c:pt>
                <c:pt idx="123">
                  <c:v>27.09.21</c:v>
                </c:pt>
                <c:pt idx="124">
                  <c:v>28.09.21</c:v>
                </c:pt>
                <c:pt idx="125">
                  <c:v>29.09.21</c:v>
                </c:pt>
                <c:pt idx="126">
                  <c:v>30.09.21</c:v>
                </c:pt>
                <c:pt idx="127">
                  <c:v>01.10.21</c:v>
                </c:pt>
                <c:pt idx="128">
                  <c:v>02.10.21</c:v>
                </c:pt>
                <c:pt idx="129">
                  <c:v>03.10.21</c:v>
                </c:pt>
                <c:pt idx="130">
                  <c:v>04.10.21</c:v>
                </c:pt>
                <c:pt idx="131">
                  <c:v>05.10.21</c:v>
                </c:pt>
                <c:pt idx="132">
                  <c:v>06.10.21</c:v>
                </c:pt>
                <c:pt idx="133">
                  <c:v>07.10.21</c:v>
                </c:pt>
                <c:pt idx="134">
                  <c:v>08.10.21</c:v>
                </c:pt>
                <c:pt idx="135">
                  <c:v>09.10.21</c:v>
                </c:pt>
                <c:pt idx="136">
                  <c:v>10.10.21</c:v>
                </c:pt>
                <c:pt idx="137">
                  <c:v>11.10.21</c:v>
                </c:pt>
                <c:pt idx="138">
                  <c:v>12.10.21</c:v>
                </c:pt>
                <c:pt idx="139">
                  <c:v>13.10.21</c:v>
                </c:pt>
                <c:pt idx="140">
                  <c:v>14.10.21</c:v>
                </c:pt>
                <c:pt idx="141">
                  <c:v>15.10.21</c:v>
                </c:pt>
                <c:pt idx="142">
                  <c:v>16.10.21</c:v>
                </c:pt>
                <c:pt idx="143">
                  <c:v>17.10.21</c:v>
                </c:pt>
                <c:pt idx="144">
                  <c:v>18.10.21</c:v>
                </c:pt>
                <c:pt idx="145">
                  <c:v>19.10.21</c:v>
                </c:pt>
                <c:pt idx="146">
                  <c:v>20.10.21</c:v>
                </c:pt>
                <c:pt idx="147">
                  <c:v>21.10.21</c:v>
                </c:pt>
                <c:pt idx="148">
                  <c:v>22.10.21</c:v>
                </c:pt>
                <c:pt idx="149">
                  <c:v>23.10.21</c:v>
                </c:pt>
                <c:pt idx="150">
                  <c:v>24.10.21</c:v>
                </c:pt>
                <c:pt idx="151">
                  <c:v>25.10.21</c:v>
                </c:pt>
                <c:pt idx="152">
                  <c:v>26.10.21</c:v>
                </c:pt>
                <c:pt idx="153">
                  <c:v>27.10.21</c:v>
                </c:pt>
                <c:pt idx="154">
                  <c:v>28.10.21</c:v>
                </c:pt>
                <c:pt idx="155">
                  <c:v>29.10.21</c:v>
                </c:pt>
                <c:pt idx="156">
                  <c:v>30.10.21</c:v>
                </c:pt>
                <c:pt idx="157">
                  <c:v>31.10.21</c:v>
                </c:pt>
                <c:pt idx="158">
                  <c:v>01.11.21</c:v>
                </c:pt>
                <c:pt idx="159">
                  <c:v>02.11.21</c:v>
                </c:pt>
                <c:pt idx="160">
                  <c:v>03.11.21</c:v>
                </c:pt>
                <c:pt idx="161">
                  <c:v>04.11.21</c:v>
                </c:pt>
                <c:pt idx="162">
                  <c:v>05.11.21</c:v>
                </c:pt>
                <c:pt idx="163">
                  <c:v>06.11.21</c:v>
                </c:pt>
                <c:pt idx="164">
                  <c:v>07.11.21</c:v>
                </c:pt>
                <c:pt idx="165">
                  <c:v>08.11.21</c:v>
                </c:pt>
                <c:pt idx="166">
                  <c:v>09.11.21</c:v>
                </c:pt>
                <c:pt idx="167">
                  <c:v>10.11.21</c:v>
                </c:pt>
                <c:pt idx="168">
                  <c:v>11.11.21</c:v>
                </c:pt>
                <c:pt idx="169">
                  <c:v>12.11.21</c:v>
                </c:pt>
                <c:pt idx="170">
                  <c:v>13.11.21</c:v>
                </c:pt>
                <c:pt idx="171">
                  <c:v>14.11.21</c:v>
                </c:pt>
                <c:pt idx="172">
                  <c:v>15.11.21</c:v>
                </c:pt>
                <c:pt idx="173">
                  <c:v>16.11.21</c:v>
                </c:pt>
                <c:pt idx="174">
                  <c:v>17.11.21</c:v>
                </c:pt>
                <c:pt idx="175">
                  <c:v>18.11.21</c:v>
                </c:pt>
                <c:pt idx="176">
                  <c:v>19.11.21</c:v>
                </c:pt>
                <c:pt idx="177">
                  <c:v>20.11.21</c:v>
                </c:pt>
                <c:pt idx="178">
                  <c:v>21.11.21</c:v>
                </c:pt>
                <c:pt idx="179">
                  <c:v>22.11.21</c:v>
                </c:pt>
                <c:pt idx="180">
                  <c:v>23.11.21</c:v>
                </c:pt>
                <c:pt idx="181">
                  <c:v>24.11.21</c:v>
                </c:pt>
                <c:pt idx="182">
                  <c:v>25.11.21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2</c:v>
                </c:pt>
                <c:pt idx="1">
                  <c:v>2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2</c:v>
                </c:pt>
                <c:pt idx="44">
                  <c:v>0</c:v>
                </c:pt>
                <c:pt idx="45">
                  <c:v>0</c:v>
                </c:pt>
                <c:pt idx="46">
                  <c:v>2</c:v>
                </c:pt>
                <c:pt idx="47">
                  <c:v>1</c:v>
                </c:pt>
                <c:pt idx="48">
                  <c:v>0</c:v>
                </c:pt>
                <c:pt idx="49">
                  <c:v>0</c:v>
                </c:pt>
                <c:pt idx="50">
                  <c:v>3</c:v>
                </c:pt>
                <c:pt idx="51">
                  <c:v>2</c:v>
                </c:pt>
                <c:pt idx="52">
                  <c:v>1</c:v>
                </c:pt>
                <c:pt idx="53">
                  <c:v>2</c:v>
                </c:pt>
                <c:pt idx="54">
                  <c:v>2</c:v>
                </c:pt>
                <c:pt idx="55">
                  <c:v>2</c:v>
                </c:pt>
                <c:pt idx="56">
                  <c:v>4</c:v>
                </c:pt>
                <c:pt idx="57">
                  <c:v>0</c:v>
                </c:pt>
                <c:pt idx="58">
                  <c:v>0</c:v>
                </c:pt>
                <c:pt idx="59">
                  <c:v>1</c:v>
                </c:pt>
                <c:pt idx="60">
                  <c:v>3</c:v>
                </c:pt>
                <c:pt idx="61">
                  <c:v>1</c:v>
                </c:pt>
                <c:pt idx="62">
                  <c:v>1</c:v>
                </c:pt>
                <c:pt idx="63">
                  <c:v>2</c:v>
                </c:pt>
                <c:pt idx="64">
                  <c:v>2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6</c:v>
                </c:pt>
                <c:pt idx="70">
                  <c:v>1</c:v>
                </c:pt>
                <c:pt idx="71">
                  <c:v>2</c:v>
                </c:pt>
                <c:pt idx="72">
                  <c:v>0</c:v>
                </c:pt>
                <c:pt idx="73">
                  <c:v>2</c:v>
                </c:pt>
                <c:pt idx="74">
                  <c:v>2</c:v>
                </c:pt>
                <c:pt idx="75">
                  <c:v>0</c:v>
                </c:pt>
                <c:pt idx="76">
                  <c:v>3</c:v>
                </c:pt>
                <c:pt idx="77">
                  <c:v>1</c:v>
                </c:pt>
                <c:pt idx="78">
                  <c:v>1</c:v>
                </c:pt>
                <c:pt idx="79">
                  <c:v>0</c:v>
                </c:pt>
                <c:pt idx="80">
                  <c:v>0</c:v>
                </c:pt>
                <c:pt idx="81">
                  <c:v>3</c:v>
                </c:pt>
                <c:pt idx="82">
                  <c:v>0</c:v>
                </c:pt>
                <c:pt idx="83">
                  <c:v>0</c:v>
                </c:pt>
                <c:pt idx="84">
                  <c:v>1</c:v>
                </c:pt>
                <c:pt idx="85">
                  <c:v>1</c:v>
                </c:pt>
                <c:pt idx="86">
                  <c:v>0</c:v>
                </c:pt>
                <c:pt idx="87">
                  <c:v>0</c:v>
                </c:pt>
                <c:pt idx="88">
                  <c:v>2</c:v>
                </c:pt>
                <c:pt idx="89">
                  <c:v>0</c:v>
                </c:pt>
                <c:pt idx="90">
                  <c:v>1</c:v>
                </c:pt>
                <c:pt idx="91">
                  <c:v>1</c:v>
                </c:pt>
                <c:pt idx="92">
                  <c:v>1</c:v>
                </c:pt>
                <c:pt idx="93">
                  <c:v>1</c:v>
                </c:pt>
                <c:pt idx="94">
                  <c:v>0</c:v>
                </c:pt>
                <c:pt idx="95">
                  <c:v>0</c:v>
                </c:pt>
                <c:pt idx="96">
                  <c:v>4</c:v>
                </c:pt>
                <c:pt idx="97">
                  <c:v>4</c:v>
                </c:pt>
                <c:pt idx="98">
                  <c:v>1</c:v>
                </c:pt>
                <c:pt idx="99">
                  <c:v>1</c:v>
                </c:pt>
                <c:pt idx="100">
                  <c:v>3</c:v>
                </c:pt>
                <c:pt idx="101">
                  <c:v>1</c:v>
                </c:pt>
                <c:pt idx="102">
                  <c:v>0</c:v>
                </c:pt>
                <c:pt idx="103">
                  <c:v>2</c:v>
                </c:pt>
                <c:pt idx="104">
                  <c:v>0</c:v>
                </c:pt>
                <c:pt idx="105">
                  <c:v>0</c:v>
                </c:pt>
                <c:pt idx="106">
                  <c:v>3</c:v>
                </c:pt>
                <c:pt idx="107">
                  <c:v>3</c:v>
                </c:pt>
                <c:pt idx="108">
                  <c:v>0</c:v>
                </c:pt>
                <c:pt idx="109">
                  <c:v>4</c:v>
                </c:pt>
                <c:pt idx="110">
                  <c:v>2</c:v>
                </c:pt>
                <c:pt idx="111">
                  <c:v>0</c:v>
                </c:pt>
                <c:pt idx="112">
                  <c:v>1</c:v>
                </c:pt>
                <c:pt idx="113">
                  <c:v>2</c:v>
                </c:pt>
                <c:pt idx="114">
                  <c:v>1</c:v>
                </c:pt>
                <c:pt idx="115">
                  <c:v>1</c:v>
                </c:pt>
                <c:pt idx="116">
                  <c:v>0</c:v>
                </c:pt>
                <c:pt idx="117">
                  <c:v>3</c:v>
                </c:pt>
                <c:pt idx="118">
                  <c:v>3</c:v>
                </c:pt>
                <c:pt idx="119">
                  <c:v>2</c:v>
                </c:pt>
                <c:pt idx="120">
                  <c:v>3</c:v>
                </c:pt>
                <c:pt idx="121">
                  <c:v>0</c:v>
                </c:pt>
                <c:pt idx="122">
                  <c:v>2</c:v>
                </c:pt>
                <c:pt idx="123">
                  <c:v>6</c:v>
                </c:pt>
                <c:pt idx="124">
                  <c:v>4</c:v>
                </c:pt>
                <c:pt idx="125">
                  <c:v>3</c:v>
                </c:pt>
                <c:pt idx="126">
                  <c:v>9</c:v>
                </c:pt>
                <c:pt idx="127">
                  <c:v>2</c:v>
                </c:pt>
                <c:pt idx="128">
                  <c:v>5</c:v>
                </c:pt>
                <c:pt idx="129">
                  <c:v>1</c:v>
                </c:pt>
                <c:pt idx="130">
                  <c:v>0</c:v>
                </c:pt>
                <c:pt idx="131">
                  <c:v>2</c:v>
                </c:pt>
                <c:pt idx="132">
                  <c:v>5</c:v>
                </c:pt>
                <c:pt idx="133">
                  <c:v>6</c:v>
                </c:pt>
                <c:pt idx="134">
                  <c:v>6</c:v>
                </c:pt>
                <c:pt idx="135">
                  <c:v>1</c:v>
                </c:pt>
                <c:pt idx="136">
                  <c:v>1</c:v>
                </c:pt>
                <c:pt idx="137">
                  <c:v>3</c:v>
                </c:pt>
                <c:pt idx="138">
                  <c:v>10</c:v>
                </c:pt>
                <c:pt idx="139">
                  <c:v>7</c:v>
                </c:pt>
                <c:pt idx="140">
                  <c:v>7</c:v>
                </c:pt>
                <c:pt idx="141">
                  <c:v>6</c:v>
                </c:pt>
                <c:pt idx="142">
                  <c:v>5</c:v>
                </c:pt>
                <c:pt idx="143">
                  <c:v>8</c:v>
                </c:pt>
                <c:pt idx="144">
                  <c:v>17</c:v>
                </c:pt>
                <c:pt idx="145">
                  <c:v>16</c:v>
                </c:pt>
                <c:pt idx="146">
                  <c:v>13</c:v>
                </c:pt>
                <c:pt idx="147">
                  <c:v>13</c:v>
                </c:pt>
                <c:pt idx="148">
                  <c:v>16</c:v>
                </c:pt>
                <c:pt idx="149">
                  <c:v>12</c:v>
                </c:pt>
                <c:pt idx="150">
                  <c:v>12</c:v>
                </c:pt>
                <c:pt idx="151">
                  <c:v>29</c:v>
                </c:pt>
                <c:pt idx="152">
                  <c:v>20</c:v>
                </c:pt>
                <c:pt idx="153">
                  <c:v>23</c:v>
                </c:pt>
                <c:pt idx="154">
                  <c:v>22</c:v>
                </c:pt>
                <c:pt idx="155">
                  <c:v>36</c:v>
                </c:pt>
                <c:pt idx="156">
                  <c:v>21</c:v>
                </c:pt>
                <c:pt idx="157">
                  <c:v>18</c:v>
                </c:pt>
                <c:pt idx="158">
                  <c:v>55</c:v>
                </c:pt>
                <c:pt idx="159">
                  <c:v>37</c:v>
                </c:pt>
                <c:pt idx="160">
                  <c:v>38</c:v>
                </c:pt>
                <c:pt idx="161">
                  <c:v>27</c:v>
                </c:pt>
                <c:pt idx="162">
                  <c:v>39</c:v>
                </c:pt>
                <c:pt idx="163">
                  <c:v>20</c:v>
                </c:pt>
                <c:pt idx="164">
                  <c:v>18</c:v>
                </c:pt>
                <c:pt idx="165">
                  <c:v>52</c:v>
                </c:pt>
                <c:pt idx="166">
                  <c:v>46</c:v>
                </c:pt>
                <c:pt idx="167">
                  <c:v>48</c:v>
                </c:pt>
                <c:pt idx="168">
                  <c:v>48</c:v>
                </c:pt>
                <c:pt idx="169">
                  <c:v>41</c:v>
                </c:pt>
                <c:pt idx="170">
                  <c:v>49</c:v>
                </c:pt>
                <c:pt idx="171">
                  <c:v>22</c:v>
                </c:pt>
                <c:pt idx="172">
                  <c:v>62</c:v>
                </c:pt>
                <c:pt idx="173">
                  <c:v>57</c:v>
                </c:pt>
                <c:pt idx="174">
                  <c:v>44</c:v>
                </c:pt>
                <c:pt idx="175">
                  <c:v>52</c:v>
                </c:pt>
                <c:pt idx="176">
                  <c:v>78</c:v>
                </c:pt>
                <c:pt idx="177">
                  <c:v>43</c:v>
                </c:pt>
                <c:pt idx="178">
                  <c:v>31</c:v>
                </c:pt>
                <c:pt idx="179">
                  <c:v>60</c:v>
                </c:pt>
                <c:pt idx="180">
                  <c:v>66</c:v>
                </c:pt>
                <c:pt idx="181">
                  <c:v>36</c:v>
                </c:pt>
                <c:pt idx="182">
                  <c:v>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6350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8.8770528184643933E-4"/>
                  <c:y val="9.325205065298696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084775854416336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ED7D3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27.05.21</c:v>
                </c:pt>
                <c:pt idx="1">
                  <c:v>28.05.21</c:v>
                </c:pt>
                <c:pt idx="2">
                  <c:v>29.05.21</c:v>
                </c:pt>
                <c:pt idx="3">
                  <c:v>30.05.21</c:v>
                </c:pt>
                <c:pt idx="4">
                  <c:v>31.05.21</c:v>
                </c:pt>
                <c:pt idx="5">
                  <c:v>01.06.21</c:v>
                </c:pt>
                <c:pt idx="6">
                  <c:v>02.06.21</c:v>
                </c:pt>
                <c:pt idx="7">
                  <c:v>03.06.21</c:v>
                </c:pt>
                <c:pt idx="8">
                  <c:v>04.06.21</c:v>
                </c:pt>
                <c:pt idx="9">
                  <c:v>05.06.21</c:v>
                </c:pt>
                <c:pt idx="10">
                  <c:v>06.06.21</c:v>
                </c:pt>
                <c:pt idx="11">
                  <c:v>07.06.21</c:v>
                </c:pt>
                <c:pt idx="12">
                  <c:v>08.06.21</c:v>
                </c:pt>
                <c:pt idx="13">
                  <c:v>09.06.21</c:v>
                </c:pt>
                <c:pt idx="14">
                  <c:v>10.06.21</c:v>
                </c:pt>
                <c:pt idx="15">
                  <c:v>11.06.21</c:v>
                </c:pt>
                <c:pt idx="16">
                  <c:v>12.06.21</c:v>
                </c:pt>
                <c:pt idx="17">
                  <c:v>13.06.21</c:v>
                </c:pt>
                <c:pt idx="18">
                  <c:v>14.06.21</c:v>
                </c:pt>
                <c:pt idx="19">
                  <c:v>15.06.21</c:v>
                </c:pt>
                <c:pt idx="20">
                  <c:v>16.06.21</c:v>
                </c:pt>
                <c:pt idx="21">
                  <c:v>17.06.21</c:v>
                </c:pt>
                <c:pt idx="22">
                  <c:v>18.06.21</c:v>
                </c:pt>
                <c:pt idx="23">
                  <c:v>19.06.21</c:v>
                </c:pt>
                <c:pt idx="24">
                  <c:v>20.06.21</c:v>
                </c:pt>
                <c:pt idx="25">
                  <c:v>21.06.21</c:v>
                </c:pt>
                <c:pt idx="26">
                  <c:v>22.06.21</c:v>
                </c:pt>
                <c:pt idx="27">
                  <c:v>23.06.21</c:v>
                </c:pt>
                <c:pt idx="28">
                  <c:v>24.06.21</c:v>
                </c:pt>
                <c:pt idx="29">
                  <c:v>25.06.21</c:v>
                </c:pt>
                <c:pt idx="30">
                  <c:v>26.06.21</c:v>
                </c:pt>
                <c:pt idx="31">
                  <c:v>27.06.21</c:v>
                </c:pt>
                <c:pt idx="32">
                  <c:v>28.06.21</c:v>
                </c:pt>
                <c:pt idx="33">
                  <c:v>29.06.21</c:v>
                </c:pt>
                <c:pt idx="34">
                  <c:v>30.06.21</c:v>
                </c:pt>
                <c:pt idx="35">
                  <c:v>01.07.21</c:v>
                </c:pt>
                <c:pt idx="36">
                  <c:v>02.07.21</c:v>
                </c:pt>
                <c:pt idx="37">
                  <c:v>03.07.21</c:v>
                </c:pt>
                <c:pt idx="38">
                  <c:v>04.07.21</c:v>
                </c:pt>
                <c:pt idx="39">
                  <c:v>05.07.21</c:v>
                </c:pt>
                <c:pt idx="40">
                  <c:v>06.07.21</c:v>
                </c:pt>
                <c:pt idx="41">
                  <c:v>07.07.21</c:v>
                </c:pt>
                <c:pt idx="42">
                  <c:v>08.07.21</c:v>
                </c:pt>
                <c:pt idx="43">
                  <c:v>09.07.21</c:v>
                </c:pt>
                <c:pt idx="44">
                  <c:v>10.07.21</c:v>
                </c:pt>
                <c:pt idx="45">
                  <c:v>11.07.21</c:v>
                </c:pt>
                <c:pt idx="46">
                  <c:v>12.07.21</c:v>
                </c:pt>
                <c:pt idx="47">
                  <c:v>13.07.21</c:v>
                </c:pt>
                <c:pt idx="48">
                  <c:v>14.07.21</c:v>
                </c:pt>
                <c:pt idx="49">
                  <c:v>15.07.21</c:v>
                </c:pt>
                <c:pt idx="50">
                  <c:v>16.07.21</c:v>
                </c:pt>
                <c:pt idx="51">
                  <c:v>17.07.21</c:v>
                </c:pt>
                <c:pt idx="52">
                  <c:v>18.07.21</c:v>
                </c:pt>
                <c:pt idx="53">
                  <c:v>19.07.21</c:v>
                </c:pt>
                <c:pt idx="54">
                  <c:v>20.07.21</c:v>
                </c:pt>
                <c:pt idx="55">
                  <c:v>21.07.21</c:v>
                </c:pt>
                <c:pt idx="56">
                  <c:v>22.07.21</c:v>
                </c:pt>
                <c:pt idx="57">
                  <c:v>23.07.21</c:v>
                </c:pt>
                <c:pt idx="58">
                  <c:v>24.07.21</c:v>
                </c:pt>
                <c:pt idx="59">
                  <c:v>25.07.21</c:v>
                </c:pt>
                <c:pt idx="60">
                  <c:v>26.07.21</c:v>
                </c:pt>
                <c:pt idx="61">
                  <c:v>27.07.21</c:v>
                </c:pt>
                <c:pt idx="62">
                  <c:v>28.07.21</c:v>
                </c:pt>
                <c:pt idx="63">
                  <c:v>29.07.21</c:v>
                </c:pt>
                <c:pt idx="64">
                  <c:v>30.07.21</c:v>
                </c:pt>
                <c:pt idx="65">
                  <c:v>31.07.21</c:v>
                </c:pt>
                <c:pt idx="66">
                  <c:v>01.08.21</c:v>
                </c:pt>
                <c:pt idx="67">
                  <c:v>02.08.21</c:v>
                </c:pt>
                <c:pt idx="68">
                  <c:v>03.08.21</c:v>
                </c:pt>
                <c:pt idx="69">
                  <c:v>04.08.21</c:v>
                </c:pt>
                <c:pt idx="70">
                  <c:v>05.08.21</c:v>
                </c:pt>
                <c:pt idx="71">
                  <c:v>06.08.21</c:v>
                </c:pt>
                <c:pt idx="72">
                  <c:v>07.08.21</c:v>
                </c:pt>
                <c:pt idx="73">
                  <c:v>08.08.21</c:v>
                </c:pt>
                <c:pt idx="74">
                  <c:v>09.08.21</c:v>
                </c:pt>
                <c:pt idx="75">
                  <c:v>10.08.21</c:v>
                </c:pt>
                <c:pt idx="76">
                  <c:v>11.08.21</c:v>
                </c:pt>
                <c:pt idx="77">
                  <c:v>12.08.21</c:v>
                </c:pt>
                <c:pt idx="78">
                  <c:v>13.08.21</c:v>
                </c:pt>
                <c:pt idx="79">
                  <c:v>14.08.21</c:v>
                </c:pt>
                <c:pt idx="80">
                  <c:v>15.08.21</c:v>
                </c:pt>
                <c:pt idx="81">
                  <c:v>16.08.21</c:v>
                </c:pt>
                <c:pt idx="82">
                  <c:v>17.08.21</c:v>
                </c:pt>
                <c:pt idx="83">
                  <c:v>18.08.21</c:v>
                </c:pt>
                <c:pt idx="84">
                  <c:v>19.08.21</c:v>
                </c:pt>
                <c:pt idx="85">
                  <c:v>20.08.21</c:v>
                </c:pt>
                <c:pt idx="86">
                  <c:v>21.08.21</c:v>
                </c:pt>
                <c:pt idx="87">
                  <c:v>22.08.21</c:v>
                </c:pt>
                <c:pt idx="88">
                  <c:v>23.08.21</c:v>
                </c:pt>
                <c:pt idx="89">
                  <c:v>24.08.21</c:v>
                </c:pt>
                <c:pt idx="90">
                  <c:v>25.08.21</c:v>
                </c:pt>
                <c:pt idx="91">
                  <c:v>26.08.21</c:v>
                </c:pt>
                <c:pt idx="92">
                  <c:v>27.08.21</c:v>
                </c:pt>
                <c:pt idx="93">
                  <c:v>28.08.21</c:v>
                </c:pt>
                <c:pt idx="94">
                  <c:v>29.08.21</c:v>
                </c:pt>
                <c:pt idx="95">
                  <c:v>30.08.21</c:v>
                </c:pt>
                <c:pt idx="96">
                  <c:v>31.08.21</c:v>
                </c:pt>
                <c:pt idx="97">
                  <c:v>01.09.21</c:v>
                </c:pt>
                <c:pt idx="98">
                  <c:v>02.09.21</c:v>
                </c:pt>
                <c:pt idx="99">
                  <c:v>03.09.21</c:v>
                </c:pt>
                <c:pt idx="100">
                  <c:v>04.09.21</c:v>
                </c:pt>
                <c:pt idx="101">
                  <c:v>05.09.21</c:v>
                </c:pt>
                <c:pt idx="102">
                  <c:v>06.09.21</c:v>
                </c:pt>
                <c:pt idx="103">
                  <c:v>07.09.21</c:v>
                </c:pt>
                <c:pt idx="104">
                  <c:v>08.09.21</c:v>
                </c:pt>
                <c:pt idx="105">
                  <c:v>09.09.21</c:v>
                </c:pt>
                <c:pt idx="106">
                  <c:v>10.09.21</c:v>
                </c:pt>
                <c:pt idx="107">
                  <c:v>11.09.21</c:v>
                </c:pt>
                <c:pt idx="108">
                  <c:v>12.09.21</c:v>
                </c:pt>
                <c:pt idx="109">
                  <c:v>13.09.21</c:v>
                </c:pt>
                <c:pt idx="110">
                  <c:v>14.09.21</c:v>
                </c:pt>
                <c:pt idx="111">
                  <c:v>15.09.21</c:v>
                </c:pt>
                <c:pt idx="112">
                  <c:v>16.09.21</c:v>
                </c:pt>
                <c:pt idx="113">
                  <c:v>17.09.21</c:v>
                </c:pt>
                <c:pt idx="114">
                  <c:v>18.09.21</c:v>
                </c:pt>
                <c:pt idx="115">
                  <c:v>19.09.21</c:v>
                </c:pt>
                <c:pt idx="116">
                  <c:v>20.09.21</c:v>
                </c:pt>
                <c:pt idx="117">
                  <c:v>21.09.21</c:v>
                </c:pt>
                <c:pt idx="118">
                  <c:v>22.09.21</c:v>
                </c:pt>
                <c:pt idx="119">
                  <c:v>23.09.21</c:v>
                </c:pt>
                <c:pt idx="120">
                  <c:v>24.09.21</c:v>
                </c:pt>
                <c:pt idx="121">
                  <c:v>25.09.21</c:v>
                </c:pt>
                <c:pt idx="122">
                  <c:v>26.09.21</c:v>
                </c:pt>
                <c:pt idx="123">
                  <c:v>27.09.21</c:v>
                </c:pt>
                <c:pt idx="124">
                  <c:v>28.09.21</c:v>
                </c:pt>
                <c:pt idx="125">
                  <c:v>29.09.21</c:v>
                </c:pt>
                <c:pt idx="126">
                  <c:v>30.09.21</c:v>
                </c:pt>
                <c:pt idx="127">
                  <c:v>01.10.21</c:v>
                </c:pt>
                <c:pt idx="128">
                  <c:v>02.10.21</c:v>
                </c:pt>
                <c:pt idx="129">
                  <c:v>03.10.21</c:v>
                </c:pt>
                <c:pt idx="130">
                  <c:v>04.10.21</c:v>
                </c:pt>
                <c:pt idx="131">
                  <c:v>05.10.21</c:v>
                </c:pt>
                <c:pt idx="132">
                  <c:v>06.10.21</c:v>
                </c:pt>
                <c:pt idx="133">
                  <c:v>07.10.21</c:v>
                </c:pt>
                <c:pt idx="134">
                  <c:v>08.10.21</c:v>
                </c:pt>
                <c:pt idx="135">
                  <c:v>09.10.21</c:v>
                </c:pt>
                <c:pt idx="136">
                  <c:v>10.10.21</c:v>
                </c:pt>
                <c:pt idx="137">
                  <c:v>11.10.21</c:v>
                </c:pt>
                <c:pt idx="138">
                  <c:v>12.10.21</c:v>
                </c:pt>
                <c:pt idx="139">
                  <c:v>13.10.21</c:v>
                </c:pt>
                <c:pt idx="140">
                  <c:v>14.10.21</c:v>
                </c:pt>
                <c:pt idx="141">
                  <c:v>15.10.21</c:v>
                </c:pt>
                <c:pt idx="142">
                  <c:v>16.10.21</c:v>
                </c:pt>
                <c:pt idx="143">
                  <c:v>17.10.21</c:v>
                </c:pt>
                <c:pt idx="144">
                  <c:v>18.10.21</c:v>
                </c:pt>
                <c:pt idx="145">
                  <c:v>19.10.21</c:v>
                </c:pt>
                <c:pt idx="146">
                  <c:v>20.10.21</c:v>
                </c:pt>
                <c:pt idx="147">
                  <c:v>21.10.21</c:v>
                </c:pt>
                <c:pt idx="148">
                  <c:v>22.10.21</c:v>
                </c:pt>
                <c:pt idx="149">
                  <c:v>23.10.21</c:v>
                </c:pt>
                <c:pt idx="150">
                  <c:v>24.10.21</c:v>
                </c:pt>
                <c:pt idx="151">
                  <c:v>25.10.21</c:v>
                </c:pt>
                <c:pt idx="152">
                  <c:v>26.10.21</c:v>
                </c:pt>
                <c:pt idx="153">
                  <c:v>27.10.21</c:v>
                </c:pt>
                <c:pt idx="154">
                  <c:v>28.10.21</c:v>
                </c:pt>
                <c:pt idx="155">
                  <c:v>29.10.21</c:v>
                </c:pt>
                <c:pt idx="156">
                  <c:v>30.10.21</c:v>
                </c:pt>
                <c:pt idx="157">
                  <c:v>31.10.21</c:v>
                </c:pt>
                <c:pt idx="158">
                  <c:v>01.11.21</c:v>
                </c:pt>
                <c:pt idx="159">
                  <c:v>02.11.21</c:v>
                </c:pt>
                <c:pt idx="160">
                  <c:v>03.11.21</c:v>
                </c:pt>
                <c:pt idx="161">
                  <c:v>04.11.21</c:v>
                </c:pt>
                <c:pt idx="162">
                  <c:v>05.11.21</c:v>
                </c:pt>
                <c:pt idx="163">
                  <c:v>06.11.21</c:v>
                </c:pt>
                <c:pt idx="164">
                  <c:v>07.11.21</c:v>
                </c:pt>
                <c:pt idx="165">
                  <c:v>08.11.21</c:v>
                </c:pt>
                <c:pt idx="166">
                  <c:v>09.11.21</c:v>
                </c:pt>
                <c:pt idx="167">
                  <c:v>10.11.21</c:v>
                </c:pt>
                <c:pt idx="168">
                  <c:v>11.11.21</c:v>
                </c:pt>
                <c:pt idx="169">
                  <c:v>12.11.21</c:v>
                </c:pt>
                <c:pt idx="170">
                  <c:v>13.11.21</c:v>
                </c:pt>
                <c:pt idx="171">
                  <c:v>14.11.21</c:v>
                </c:pt>
                <c:pt idx="172">
                  <c:v>15.11.21</c:v>
                </c:pt>
                <c:pt idx="173">
                  <c:v>16.11.21</c:v>
                </c:pt>
                <c:pt idx="174">
                  <c:v>17.11.21</c:v>
                </c:pt>
                <c:pt idx="175">
                  <c:v>18.11.21</c:v>
                </c:pt>
                <c:pt idx="176">
                  <c:v>19.11.21</c:v>
                </c:pt>
                <c:pt idx="177">
                  <c:v>20.11.21</c:v>
                </c:pt>
                <c:pt idx="178">
                  <c:v>21.11.21</c:v>
                </c:pt>
                <c:pt idx="179">
                  <c:v>22.11.21</c:v>
                </c:pt>
                <c:pt idx="180">
                  <c:v>23.11.21</c:v>
                </c:pt>
                <c:pt idx="181">
                  <c:v>24.11.21</c:v>
                </c:pt>
                <c:pt idx="182">
                  <c:v>25.11.21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2</c:v>
                </c:pt>
                <c:pt idx="1">
                  <c:v>4</c:v>
                </c:pt>
                <c:pt idx="2">
                  <c:v>0</c:v>
                </c:pt>
                <c:pt idx="3">
                  <c:v>0</c:v>
                </c:pt>
                <c:pt idx="4">
                  <c:v>3</c:v>
                </c:pt>
                <c:pt idx="5">
                  <c:v>1</c:v>
                </c:pt>
                <c:pt idx="6">
                  <c:v>0</c:v>
                </c:pt>
                <c:pt idx="7">
                  <c:v>5</c:v>
                </c:pt>
                <c:pt idx="8">
                  <c:v>1</c:v>
                </c:pt>
                <c:pt idx="9">
                  <c:v>0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2</c:v>
                </c:pt>
                <c:pt idx="18">
                  <c:v>1</c:v>
                </c:pt>
                <c:pt idx="19">
                  <c:v>0</c:v>
                </c:pt>
                <c:pt idx="20">
                  <c:v>0</c:v>
                </c:pt>
                <c:pt idx="21">
                  <c:v>2</c:v>
                </c:pt>
                <c:pt idx="22">
                  <c:v>3</c:v>
                </c:pt>
                <c:pt idx="23">
                  <c:v>1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1</c:v>
                </c:pt>
                <c:pt idx="28">
                  <c:v>1</c:v>
                </c:pt>
                <c:pt idx="29">
                  <c:v>0</c:v>
                </c:pt>
                <c:pt idx="30">
                  <c:v>0</c:v>
                </c:pt>
                <c:pt idx="31">
                  <c:v>1</c:v>
                </c:pt>
                <c:pt idx="32">
                  <c:v>1</c:v>
                </c:pt>
                <c:pt idx="33">
                  <c:v>2</c:v>
                </c:pt>
                <c:pt idx="34">
                  <c:v>0</c:v>
                </c:pt>
                <c:pt idx="35">
                  <c:v>1</c:v>
                </c:pt>
                <c:pt idx="36">
                  <c:v>2</c:v>
                </c:pt>
                <c:pt idx="37">
                  <c:v>0</c:v>
                </c:pt>
                <c:pt idx="38">
                  <c:v>1</c:v>
                </c:pt>
                <c:pt idx="39">
                  <c:v>4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1</c:v>
                </c:pt>
                <c:pt idx="44">
                  <c:v>0</c:v>
                </c:pt>
                <c:pt idx="45">
                  <c:v>0</c:v>
                </c:pt>
                <c:pt idx="46">
                  <c:v>2</c:v>
                </c:pt>
                <c:pt idx="47">
                  <c:v>3</c:v>
                </c:pt>
                <c:pt idx="48">
                  <c:v>2</c:v>
                </c:pt>
                <c:pt idx="49">
                  <c:v>2</c:v>
                </c:pt>
                <c:pt idx="50">
                  <c:v>0</c:v>
                </c:pt>
                <c:pt idx="51">
                  <c:v>0</c:v>
                </c:pt>
                <c:pt idx="52">
                  <c:v>1</c:v>
                </c:pt>
                <c:pt idx="53">
                  <c:v>4</c:v>
                </c:pt>
                <c:pt idx="54">
                  <c:v>0</c:v>
                </c:pt>
                <c:pt idx="55">
                  <c:v>4</c:v>
                </c:pt>
                <c:pt idx="56">
                  <c:v>0</c:v>
                </c:pt>
                <c:pt idx="57">
                  <c:v>4</c:v>
                </c:pt>
                <c:pt idx="58">
                  <c:v>1</c:v>
                </c:pt>
                <c:pt idx="59">
                  <c:v>1</c:v>
                </c:pt>
                <c:pt idx="60">
                  <c:v>3</c:v>
                </c:pt>
                <c:pt idx="61">
                  <c:v>0</c:v>
                </c:pt>
                <c:pt idx="62">
                  <c:v>0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0</c:v>
                </c:pt>
                <c:pt idx="67">
                  <c:v>0</c:v>
                </c:pt>
                <c:pt idx="68">
                  <c:v>2</c:v>
                </c:pt>
                <c:pt idx="69">
                  <c:v>1</c:v>
                </c:pt>
                <c:pt idx="70">
                  <c:v>0</c:v>
                </c:pt>
                <c:pt idx="71">
                  <c:v>1</c:v>
                </c:pt>
                <c:pt idx="72">
                  <c:v>0</c:v>
                </c:pt>
                <c:pt idx="73">
                  <c:v>0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1</c:v>
                </c:pt>
                <c:pt idx="78">
                  <c:v>2</c:v>
                </c:pt>
                <c:pt idx="79">
                  <c:v>3</c:v>
                </c:pt>
                <c:pt idx="80">
                  <c:v>1</c:v>
                </c:pt>
                <c:pt idx="81">
                  <c:v>3</c:v>
                </c:pt>
                <c:pt idx="82">
                  <c:v>3</c:v>
                </c:pt>
                <c:pt idx="83">
                  <c:v>2</c:v>
                </c:pt>
                <c:pt idx="84">
                  <c:v>1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4</c:v>
                </c:pt>
                <c:pt idx="89">
                  <c:v>2</c:v>
                </c:pt>
                <c:pt idx="90">
                  <c:v>0</c:v>
                </c:pt>
                <c:pt idx="91">
                  <c:v>2</c:v>
                </c:pt>
                <c:pt idx="92">
                  <c:v>1</c:v>
                </c:pt>
                <c:pt idx="93">
                  <c:v>2</c:v>
                </c:pt>
                <c:pt idx="94">
                  <c:v>1</c:v>
                </c:pt>
                <c:pt idx="95">
                  <c:v>0</c:v>
                </c:pt>
                <c:pt idx="96">
                  <c:v>2</c:v>
                </c:pt>
                <c:pt idx="97">
                  <c:v>1</c:v>
                </c:pt>
                <c:pt idx="98">
                  <c:v>5</c:v>
                </c:pt>
                <c:pt idx="99">
                  <c:v>6</c:v>
                </c:pt>
                <c:pt idx="100">
                  <c:v>1</c:v>
                </c:pt>
                <c:pt idx="101">
                  <c:v>0</c:v>
                </c:pt>
                <c:pt idx="102">
                  <c:v>2</c:v>
                </c:pt>
                <c:pt idx="103">
                  <c:v>6</c:v>
                </c:pt>
                <c:pt idx="104">
                  <c:v>1</c:v>
                </c:pt>
                <c:pt idx="105">
                  <c:v>4</c:v>
                </c:pt>
                <c:pt idx="106">
                  <c:v>0</c:v>
                </c:pt>
                <c:pt idx="107">
                  <c:v>1</c:v>
                </c:pt>
                <c:pt idx="108">
                  <c:v>2</c:v>
                </c:pt>
                <c:pt idx="109">
                  <c:v>3</c:v>
                </c:pt>
                <c:pt idx="110">
                  <c:v>4</c:v>
                </c:pt>
                <c:pt idx="111">
                  <c:v>3</c:v>
                </c:pt>
                <c:pt idx="112">
                  <c:v>7</c:v>
                </c:pt>
                <c:pt idx="113">
                  <c:v>5</c:v>
                </c:pt>
                <c:pt idx="114">
                  <c:v>2</c:v>
                </c:pt>
                <c:pt idx="115">
                  <c:v>2</c:v>
                </c:pt>
                <c:pt idx="116">
                  <c:v>10</c:v>
                </c:pt>
                <c:pt idx="117">
                  <c:v>7</c:v>
                </c:pt>
                <c:pt idx="118">
                  <c:v>6</c:v>
                </c:pt>
                <c:pt idx="119">
                  <c:v>5</c:v>
                </c:pt>
                <c:pt idx="120">
                  <c:v>7</c:v>
                </c:pt>
                <c:pt idx="121">
                  <c:v>7</c:v>
                </c:pt>
                <c:pt idx="122">
                  <c:v>6</c:v>
                </c:pt>
                <c:pt idx="123">
                  <c:v>5</c:v>
                </c:pt>
                <c:pt idx="124">
                  <c:v>7</c:v>
                </c:pt>
                <c:pt idx="125">
                  <c:v>12</c:v>
                </c:pt>
                <c:pt idx="126">
                  <c:v>15</c:v>
                </c:pt>
                <c:pt idx="127">
                  <c:v>7</c:v>
                </c:pt>
                <c:pt idx="128">
                  <c:v>5</c:v>
                </c:pt>
                <c:pt idx="129">
                  <c:v>8</c:v>
                </c:pt>
                <c:pt idx="130">
                  <c:v>10</c:v>
                </c:pt>
                <c:pt idx="131">
                  <c:v>12</c:v>
                </c:pt>
                <c:pt idx="132">
                  <c:v>9</c:v>
                </c:pt>
                <c:pt idx="133">
                  <c:v>8</c:v>
                </c:pt>
                <c:pt idx="134">
                  <c:v>9</c:v>
                </c:pt>
                <c:pt idx="135">
                  <c:v>5</c:v>
                </c:pt>
                <c:pt idx="136">
                  <c:v>4</c:v>
                </c:pt>
                <c:pt idx="137">
                  <c:v>17</c:v>
                </c:pt>
                <c:pt idx="138">
                  <c:v>17</c:v>
                </c:pt>
                <c:pt idx="139">
                  <c:v>20</c:v>
                </c:pt>
                <c:pt idx="140">
                  <c:v>17</c:v>
                </c:pt>
                <c:pt idx="141">
                  <c:v>17</c:v>
                </c:pt>
                <c:pt idx="142">
                  <c:v>10</c:v>
                </c:pt>
                <c:pt idx="143">
                  <c:v>10</c:v>
                </c:pt>
                <c:pt idx="144">
                  <c:v>32</c:v>
                </c:pt>
                <c:pt idx="145">
                  <c:v>25</c:v>
                </c:pt>
                <c:pt idx="146">
                  <c:v>24</c:v>
                </c:pt>
                <c:pt idx="147">
                  <c:v>48</c:v>
                </c:pt>
                <c:pt idx="148">
                  <c:v>38</c:v>
                </c:pt>
                <c:pt idx="149">
                  <c:v>31</c:v>
                </c:pt>
                <c:pt idx="150">
                  <c:v>11</c:v>
                </c:pt>
                <c:pt idx="151">
                  <c:v>59</c:v>
                </c:pt>
                <c:pt idx="152">
                  <c:v>63</c:v>
                </c:pt>
                <c:pt idx="153">
                  <c:v>71</c:v>
                </c:pt>
                <c:pt idx="154">
                  <c:v>31</c:v>
                </c:pt>
                <c:pt idx="155">
                  <c:v>75</c:v>
                </c:pt>
                <c:pt idx="156">
                  <c:v>56</c:v>
                </c:pt>
                <c:pt idx="157">
                  <c:v>37</c:v>
                </c:pt>
                <c:pt idx="158">
                  <c:v>103</c:v>
                </c:pt>
                <c:pt idx="159">
                  <c:v>100</c:v>
                </c:pt>
                <c:pt idx="160">
                  <c:v>108</c:v>
                </c:pt>
                <c:pt idx="161">
                  <c:v>95</c:v>
                </c:pt>
                <c:pt idx="162">
                  <c:v>107</c:v>
                </c:pt>
                <c:pt idx="163">
                  <c:v>78</c:v>
                </c:pt>
                <c:pt idx="164">
                  <c:v>25</c:v>
                </c:pt>
                <c:pt idx="165">
                  <c:v>120</c:v>
                </c:pt>
                <c:pt idx="166">
                  <c:v>132</c:v>
                </c:pt>
                <c:pt idx="167">
                  <c:v>163</c:v>
                </c:pt>
                <c:pt idx="168">
                  <c:v>90</c:v>
                </c:pt>
                <c:pt idx="169">
                  <c:v>151</c:v>
                </c:pt>
                <c:pt idx="170">
                  <c:v>85</c:v>
                </c:pt>
                <c:pt idx="171">
                  <c:v>52</c:v>
                </c:pt>
                <c:pt idx="172">
                  <c:v>147</c:v>
                </c:pt>
                <c:pt idx="173">
                  <c:v>214</c:v>
                </c:pt>
                <c:pt idx="174">
                  <c:v>105</c:v>
                </c:pt>
                <c:pt idx="175">
                  <c:v>153</c:v>
                </c:pt>
                <c:pt idx="176">
                  <c:v>211</c:v>
                </c:pt>
                <c:pt idx="177">
                  <c:v>143</c:v>
                </c:pt>
                <c:pt idx="178">
                  <c:v>78</c:v>
                </c:pt>
                <c:pt idx="179">
                  <c:v>180</c:v>
                </c:pt>
                <c:pt idx="180">
                  <c:v>220</c:v>
                </c:pt>
                <c:pt idx="181">
                  <c:v>121</c:v>
                </c:pt>
                <c:pt idx="182">
                  <c:v>18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3.550821127385838E-3"/>
                  <c:y val="3.263798827201787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A6A6A6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27.05.21</c:v>
                </c:pt>
                <c:pt idx="1">
                  <c:v>28.05.21</c:v>
                </c:pt>
                <c:pt idx="2">
                  <c:v>29.05.21</c:v>
                </c:pt>
                <c:pt idx="3">
                  <c:v>30.05.21</c:v>
                </c:pt>
                <c:pt idx="4">
                  <c:v>31.05.21</c:v>
                </c:pt>
                <c:pt idx="5">
                  <c:v>01.06.21</c:v>
                </c:pt>
                <c:pt idx="6">
                  <c:v>02.06.21</c:v>
                </c:pt>
                <c:pt idx="7">
                  <c:v>03.06.21</c:v>
                </c:pt>
                <c:pt idx="8">
                  <c:v>04.06.21</c:v>
                </c:pt>
                <c:pt idx="9">
                  <c:v>05.06.21</c:v>
                </c:pt>
                <c:pt idx="10">
                  <c:v>06.06.21</c:v>
                </c:pt>
                <c:pt idx="11">
                  <c:v>07.06.21</c:v>
                </c:pt>
                <c:pt idx="12">
                  <c:v>08.06.21</c:v>
                </c:pt>
                <c:pt idx="13">
                  <c:v>09.06.21</c:v>
                </c:pt>
                <c:pt idx="14">
                  <c:v>10.06.21</c:v>
                </c:pt>
                <c:pt idx="15">
                  <c:v>11.06.21</c:v>
                </c:pt>
                <c:pt idx="16">
                  <c:v>12.06.21</c:v>
                </c:pt>
                <c:pt idx="17">
                  <c:v>13.06.21</c:v>
                </c:pt>
                <c:pt idx="18">
                  <c:v>14.06.21</c:v>
                </c:pt>
                <c:pt idx="19">
                  <c:v>15.06.21</c:v>
                </c:pt>
                <c:pt idx="20">
                  <c:v>16.06.21</c:v>
                </c:pt>
                <c:pt idx="21">
                  <c:v>17.06.21</c:v>
                </c:pt>
                <c:pt idx="22">
                  <c:v>18.06.21</c:v>
                </c:pt>
                <c:pt idx="23">
                  <c:v>19.06.21</c:v>
                </c:pt>
                <c:pt idx="24">
                  <c:v>20.06.21</c:v>
                </c:pt>
                <c:pt idx="25">
                  <c:v>21.06.21</c:v>
                </c:pt>
                <c:pt idx="26">
                  <c:v>22.06.21</c:v>
                </c:pt>
                <c:pt idx="27">
                  <c:v>23.06.21</c:v>
                </c:pt>
                <c:pt idx="28">
                  <c:v>24.06.21</c:v>
                </c:pt>
                <c:pt idx="29">
                  <c:v>25.06.21</c:v>
                </c:pt>
                <c:pt idx="30">
                  <c:v>26.06.21</c:v>
                </c:pt>
                <c:pt idx="31">
                  <c:v>27.06.21</c:v>
                </c:pt>
                <c:pt idx="32">
                  <c:v>28.06.21</c:v>
                </c:pt>
                <c:pt idx="33">
                  <c:v>29.06.21</c:v>
                </c:pt>
                <c:pt idx="34">
                  <c:v>30.06.21</c:v>
                </c:pt>
                <c:pt idx="35">
                  <c:v>01.07.21</c:v>
                </c:pt>
                <c:pt idx="36">
                  <c:v>02.07.21</c:v>
                </c:pt>
                <c:pt idx="37">
                  <c:v>03.07.21</c:v>
                </c:pt>
                <c:pt idx="38">
                  <c:v>04.07.21</c:v>
                </c:pt>
                <c:pt idx="39">
                  <c:v>05.07.21</c:v>
                </c:pt>
                <c:pt idx="40">
                  <c:v>06.07.21</c:v>
                </c:pt>
                <c:pt idx="41">
                  <c:v>07.07.21</c:v>
                </c:pt>
                <c:pt idx="42">
                  <c:v>08.07.21</c:v>
                </c:pt>
                <c:pt idx="43">
                  <c:v>09.07.21</c:v>
                </c:pt>
                <c:pt idx="44">
                  <c:v>10.07.21</c:v>
                </c:pt>
                <c:pt idx="45">
                  <c:v>11.07.21</c:v>
                </c:pt>
                <c:pt idx="46">
                  <c:v>12.07.21</c:v>
                </c:pt>
                <c:pt idx="47">
                  <c:v>13.07.21</c:v>
                </c:pt>
                <c:pt idx="48">
                  <c:v>14.07.21</c:v>
                </c:pt>
                <c:pt idx="49">
                  <c:v>15.07.21</c:v>
                </c:pt>
                <c:pt idx="50">
                  <c:v>16.07.21</c:v>
                </c:pt>
                <c:pt idx="51">
                  <c:v>17.07.21</c:v>
                </c:pt>
                <c:pt idx="52">
                  <c:v>18.07.21</c:v>
                </c:pt>
                <c:pt idx="53">
                  <c:v>19.07.21</c:v>
                </c:pt>
                <c:pt idx="54">
                  <c:v>20.07.21</c:v>
                </c:pt>
                <c:pt idx="55">
                  <c:v>21.07.21</c:v>
                </c:pt>
                <c:pt idx="56">
                  <c:v>22.07.21</c:v>
                </c:pt>
                <c:pt idx="57">
                  <c:v>23.07.21</c:v>
                </c:pt>
                <c:pt idx="58">
                  <c:v>24.07.21</c:v>
                </c:pt>
                <c:pt idx="59">
                  <c:v>25.07.21</c:v>
                </c:pt>
                <c:pt idx="60">
                  <c:v>26.07.21</c:v>
                </c:pt>
                <c:pt idx="61">
                  <c:v>27.07.21</c:v>
                </c:pt>
                <c:pt idx="62">
                  <c:v>28.07.21</c:v>
                </c:pt>
                <c:pt idx="63">
                  <c:v>29.07.21</c:v>
                </c:pt>
                <c:pt idx="64">
                  <c:v>30.07.21</c:v>
                </c:pt>
                <c:pt idx="65">
                  <c:v>31.07.21</c:v>
                </c:pt>
                <c:pt idx="66">
                  <c:v>01.08.21</c:v>
                </c:pt>
                <c:pt idx="67">
                  <c:v>02.08.21</c:v>
                </c:pt>
                <c:pt idx="68">
                  <c:v>03.08.21</c:v>
                </c:pt>
                <c:pt idx="69">
                  <c:v>04.08.21</c:v>
                </c:pt>
                <c:pt idx="70">
                  <c:v>05.08.21</c:v>
                </c:pt>
                <c:pt idx="71">
                  <c:v>06.08.21</c:v>
                </c:pt>
                <c:pt idx="72">
                  <c:v>07.08.21</c:v>
                </c:pt>
                <c:pt idx="73">
                  <c:v>08.08.21</c:v>
                </c:pt>
                <c:pt idx="74">
                  <c:v>09.08.21</c:v>
                </c:pt>
                <c:pt idx="75">
                  <c:v>10.08.21</c:v>
                </c:pt>
                <c:pt idx="76">
                  <c:v>11.08.21</c:v>
                </c:pt>
                <c:pt idx="77">
                  <c:v>12.08.21</c:v>
                </c:pt>
                <c:pt idx="78">
                  <c:v>13.08.21</c:v>
                </c:pt>
                <c:pt idx="79">
                  <c:v>14.08.21</c:v>
                </c:pt>
                <c:pt idx="80">
                  <c:v>15.08.21</c:v>
                </c:pt>
                <c:pt idx="81">
                  <c:v>16.08.21</c:v>
                </c:pt>
                <c:pt idx="82">
                  <c:v>17.08.21</c:v>
                </c:pt>
                <c:pt idx="83">
                  <c:v>18.08.21</c:v>
                </c:pt>
                <c:pt idx="84">
                  <c:v>19.08.21</c:v>
                </c:pt>
                <c:pt idx="85">
                  <c:v>20.08.21</c:v>
                </c:pt>
                <c:pt idx="86">
                  <c:v>21.08.21</c:v>
                </c:pt>
                <c:pt idx="87">
                  <c:v>22.08.21</c:v>
                </c:pt>
                <c:pt idx="88">
                  <c:v>23.08.21</c:v>
                </c:pt>
                <c:pt idx="89">
                  <c:v>24.08.21</c:v>
                </c:pt>
                <c:pt idx="90">
                  <c:v>25.08.21</c:v>
                </c:pt>
                <c:pt idx="91">
                  <c:v>26.08.21</c:v>
                </c:pt>
                <c:pt idx="92">
                  <c:v>27.08.21</c:v>
                </c:pt>
                <c:pt idx="93">
                  <c:v>28.08.21</c:v>
                </c:pt>
                <c:pt idx="94">
                  <c:v>29.08.21</c:v>
                </c:pt>
                <c:pt idx="95">
                  <c:v>30.08.21</c:v>
                </c:pt>
                <c:pt idx="96">
                  <c:v>31.08.21</c:v>
                </c:pt>
                <c:pt idx="97">
                  <c:v>01.09.21</c:v>
                </c:pt>
                <c:pt idx="98">
                  <c:v>02.09.21</c:v>
                </c:pt>
                <c:pt idx="99">
                  <c:v>03.09.21</c:v>
                </c:pt>
                <c:pt idx="100">
                  <c:v>04.09.21</c:v>
                </c:pt>
                <c:pt idx="101">
                  <c:v>05.09.21</c:v>
                </c:pt>
                <c:pt idx="102">
                  <c:v>06.09.21</c:v>
                </c:pt>
                <c:pt idx="103">
                  <c:v>07.09.21</c:v>
                </c:pt>
                <c:pt idx="104">
                  <c:v>08.09.21</c:v>
                </c:pt>
                <c:pt idx="105">
                  <c:v>09.09.21</c:v>
                </c:pt>
                <c:pt idx="106">
                  <c:v>10.09.21</c:v>
                </c:pt>
                <c:pt idx="107">
                  <c:v>11.09.21</c:v>
                </c:pt>
                <c:pt idx="108">
                  <c:v>12.09.21</c:v>
                </c:pt>
                <c:pt idx="109">
                  <c:v>13.09.21</c:v>
                </c:pt>
                <c:pt idx="110">
                  <c:v>14.09.21</c:v>
                </c:pt>
                <c:pt idx="111">
                  <c:v>15.09.21</c:v>
                </c:pt>
                <c:pt idx="112">
                  <c:v>16.09.21</c:v>
                </c:pt>
                <c:pt idx="113">
                  <c:v>17.09.21</c:v>
                </c:pt>
                <c:pt idx="114">
                  <c:v>18.09.21</c:v>
                </c:pt>
                <c:pt idx="115">
                  <c:v>19.09.21</c:v>
                </c:pt>
                <c:pt idx="116">
                  <c:v>20.09.21</c:v>
                </c:pt>
                <c:pt idx="117">
                  <c:v>21.09.21</c:v>
                </c:pt>
                <c:pt idx="118">
                  <c:v>22.09.21</c:v>
                </c:pt>
                <c:pt idx="119">
                  <c:v>23.09.21</c:v>
                </c:pt>
                <c:pt idx="120">
                  <c:v>24.09.21</c:v>
                </c:pt>
                <c:pt idx="121">
                  <c:v>25.09.21</c:v>
                </c:pt>
                <c:pt idx="122">
                  <c:v>26.09.21</c:v>
                </c:pt>
                <c:pt idx="123">
                  <c:v>27.09.21</c:v>
                </c:pt>
                <c:pt idx="124">
                  <c:v>28.09.21</c:v>
                </c:pt>
                <c:pt idx="125">
                  <c:v>29.09.21</c:v>
                </c:pt>
                <c:pt idx="126">
                  <c:v>30.09.21</c:v>
                </c:pt>
                <c:pt idx="127">
                  <c:v>01.10.21</c:v>
                </c:pt>
                <c:pt idx="128">
                  <c:v>02.10.21</c:v>
                </c:pt>
                <c:pt idx="129">
                  <c:v>03.10.21</c:v>
                </c:pt>
                <c:pt idx="130">
                  <c:v>04.10.21</c:v>
                </c:pt>
                <c:pt idx="131">
                  <c:v>05.10.21</c:v>
                </c:pt>
                <c:pt idx="132">
                  <c:v>06.10.21</c:v>
                </c:pt>
                <c:pt idx="133">
                  <c:v>07.10.21</c:v>
                </c:pt>
                <c:pt idx="134">
                  <c:v>08.10.21</c:v>
                </c:pt>
                <c:pt idx="135">
                  <c:v>09.10.21</c:v>
                </c:pt>
                <c:pt idx="136">
                  <c:v>10.10.21</c:v>
                </c:pt>
                <c:pt idx="137">
                  <c:v>11.10.21</c:v>
                </c:pt>
                <c:pt idx="138">
                  <c:v>12.10.21</c:v>
                </c:pt>
                <c:pt idx="139">
                  <c:v>13.10.21</c:v>
                </c:pt>
                <c:pt idx="140">
                  <c:v>14.10.21</c:v>
                </c:pt>
                <c:pt idx="141">
                  <c:v>15.10.21</c:v>
                </c:pt>
                <c:pt idx="142">
                  <c:v>16.10.21</c:v>
                </c:pt>
                <c:pt idx="143">
                  <c:v>17.10.21</c:v>
                </c:pt>
                <c:pt idx="144">
                  <c:v>18.10.21</c:v>
                </c:pt>
                <c:pt idx="145">
                  <c:v>19.10.21</c:v>
                </c:pt>
                <c:pt idx="146">
                  <c:v>20.10.21</c:v>
                </c:pt>
                <c:pt idx="147">
                  <c:v>21.10.21</c:v>
                </c:pt>
                <c:pt idx="148">
                  <c:v>22.10.21</c:v>
                </c:pt>
                <c:pt idx="149">
                  <c:v>23.10.21</c:v>
                </c:pt>
                <c:pt idx="150">
                  <c:v>24.10.21</c:v>
                </c:pt>
                <c:pt idx="151">
                  <c:v>25.10.21</c:v>
                </c:pt>
                <c:pt idx="152">
                  <c:v>26.10.21</c:v>
                </c:pt>
                <c:pt idx="153">
                  <c:v>27.10.21</c:v>
                </c:pt>
                <c:pt idx="154">
                  <c:v>28.10.21</c:v>
                </c:pt>
                <c:pt idx="155">
                  <c:v>29.10.21</c:v>
                </c:pt>
                <c:pt idx="156">
                  <c:v>30.10.21</c:v>
                </c:pt>
                <c:pt idx="157">
                  <c:v>31.10.21</c:v>
                </c:pt>
                <c:pt idx="158">
                  <c:v>01.11.21</c:v>
                </c:pt>
                <c:pt idx="159">
                  <c:v>02.11.21</c:v>
                </c:pt>
                <c:pt idx="160">
                  <c:v>03.11.21</c:v>
                </c:pt>
                <c:pt idx="161">
                  <c:v>04.11.21</c:v>
                </c:pt>
                <c:pt idx="162">
                  <c:v>05.11.21</c:v>
                </c:pt>
                <c:pt idx="163">
                  <c:v>06.11.21</c:v>
                </c:pt>
                <c:pt idx="164">
                  <c:v>07.11.21</c:v>
                </c:pt>
                <c:pt idx="165">
                  <c:v>08.11.21</c:v>
                </c:pt>
                <c:pt idx="166">
                  <c:v>09.11.21</c:v>
                </c:pt>
                <c:pt idx="167">
                  <c:v>10.11.21</c:v>
                </c:pt>
                <c:pt idx="168">
                  <c:v>11.11.21</c:v>
                </c:pt>
                <c:pt idx="169">
                  <c:v>12.11.21</c:v>
                </c:pt>
                <c:pt idx="170">
                  <c:v>13.11.21</c:v>
                </c:pt>
                <c:pt idx="171">
                  <c:v>14.11.21</c:v>
                </c:pt>
                <c:pt idx="172">
                  <c:v>15.11.21</c:v>
                </c:pt>
                <c:pt idx="173">
                  <c:v>16.11.21</c:v>
                </c:pt>
                <c:pt idx="174">
                  <c:v>17.11.21</c:v>
                </c:pt>
                <c:pt idx="175">
                  <c:v>18.11.21</c:v>
                </c:pt>
                <c:pt idx="176">
                  <c:v>19.11.21</c:v>
                </c:pt>
                <c:pt idx="177">
                  <c:v>20.11.21</c:v>
                </c:pt>
                <c:pt idx="178">
                  <c:v>21.11.21</c:v>
                </c:pt>
                <c:pt idx="179">
                  <c:v>22.11.21</c:v>
                </c:pt>
                <c:pt idx="180">
                  <c:v>23.11.21</c:v>
                </c:pt>
                <c:pt idx="181">
                  <c:v>24.11.21</c:v>
                </c:pt>
                <c:pt idx="182">
                  <c:v>25.11.21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0</c:v>
                </c:pt>
                <c:pt idx="4">
                  <c:v>2</c:v>
                </c:pt>
                <c:pt idx="5">
                  <c:v>1</c:v>
                </c:pt>
                <c:pt idx="6">
                  <c:v>1</c:v>
                </c:pt>
                <c:pt idx="7">
                  <c:v>2</c:v>
                </c:pt>
                <c:pt idx="8">
                  <c:v>1</c:v>
                </c:pt>
                <c:pt idx="9">
                  <c:v>1</c:v>
                </c:pt>
                <c:pt idx="10">
                  <c:v>0</c:v>
                </c:pt>
                <c:pt idx="11">
                  <c:v>2</c:v>
                </c:pt>
                <c:pt idx="12">
                  <c:v>1</c:v>
                </c:pt>
                <c:pt idx="13">
                  <c:v>2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1</c:v>
                </c:pt>
                <c:pt idx="21">
                  <c:v>2</c:v>
                </c:pt>
                <c:pt idx="22">
                  <c:v>0</c:v>
                </c:pt>
                <c:pt idx="23">
                  <c:v>1</c:v>
                </c:pt>
                <c:pt idx="24">
                  <c:v>1</c:v>
                </c:pt>
                <c:pt idx="25">
                  <c:v>0</c:v>
                </c:pt>
                <c:pt idx="26">
                  <c:v>0</c:v>
                </c:pt>
                <c:pt idx="27">
                  <c:v>2</c:v>
                </c:pt>
                <c:pt idx="28">
                  <c:v>2</c:v>
                </c:pt>
                <c:pt idx="29">
                  <c:v>0</c:v>
                </c:pt>
                <c:pt idx="30">
                  <c:v>1</c:v>
                </c:pt>
                <c:pt idx="31">
                  <c:v>2</c:v>
                </c:pt>
                <c:pt idx="32">
                  <c:v>0</c:v>
                </c:pt>
                <c:pt idx="33">
                  <c:v>1</c:v>
                </c:pt>
                <c:pt idx="34">
                  <c:v>0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1</c:v>
                </c:pt>
                <c:pt idx="41">
                  <c:v>1</c:v>
                </c:pt>
                <c:pt idx="42">
                  <c:v>4</c:v>
                </c:pt>
                <c:pt idx="43">
                  <c:v>4</c:v>
                </c:pt>
                <c:pt idx="44">
                  <c:v>0</c:v>
                </c:pt>
                <c:pt idx="45">
                  <c:v>0</c:v>
                </c:pt>
                <c:pt idx="46">
                  <c:v>3</c:v>
                </c:pt>
                <c:pt idx="47">
                  <c:v>0</c:v>
                </c:pt>
                <c:pt idx="48">
                  <c:v>4</c:v>
                </c:pt>
                <c:pt idx="49">
                  <c:v>2</c:v>
                </c:pt>
                <c:pt idx="50">
                  <c:v>5</c:v>
                </c:pt>
                <c:pt idx="51">
                  <c:v>1</c:v>
                </c:pt>
                <c:pt idx="52">
                  <c:v>1</c:v>
                </c:pt>
                <c:pt idx="53">
                  <c:v>3</c:v>
                </c:pt>
                <c:pt idx="54">
                  <c:v>5</c:v>
                </c:pt>
                <c:pt idx="55">
                  <c:v>1</c:v>
                </c:pt>
                <c:pt idx="56">
                  <c:v>3</c:v>
                </c:pt>
                <c:pt idx="57">
                  <c:v>2</c:v>
                </c:pt>
                <c:pt idx="58">
                  <c:v>0</c:v>
                </c:pt>
                <c:pt idx="59">
                  <c:v>1</c:v>
                </c:pt>
                <c:pt idx="60">
                  <c:v>3</c:v>
                </c:pt>
                <c:pt idx="61">
                  <c:v>4</c:v>
                </c:pt>
                <c:pt idx="62">
                  <c:v>1</c:v>
                </c:pt>
                <c:pt idx="63">
                  <c:v>3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2</c:v>
                </c:pt>
                <c:pt idx="68">
                  <c:v>3</c:v>
                </c:pt>
                <c:pt idx="69">
                  <c:v>3</c:v>
                </c:pt>
                <c:pt idx="70">
                  <c:v>1</c:v>
                </c:pt>
                <c:pt idx="71">
                  <c:v>2</c:v>
                </c:pt>
                <c:pt idx="72">
                  <c:v>1</c:v>
                </c:pt>
                <c:pt idx="73">
                  <c:v>0</c:v>
                </c:pt>
                <c:pt idx="74">
                  <c:v>7</c:v>
                </c:pt>
                <c:pt idx="75">
                  <c:v>1</c:v>
                </c:pt>
                <c:pt idx="76">
                  <c:v>1</c:v>
                </c:pt>
                <c:pt idx="77">
                  <c:v>2</c:v>
                </c:pt>
                <c:pt idx="78">
                  <c:v>5</c:v>
                </c:pt>
                <c:pt idx="79">
                  <c:v>2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1</c:v>
                </c:pt>
                <c:pt idx="84">
                  <c:v>0</c:v>
                </c:pt>
                <c:pt idx="85">
                  <c:v>3</c:v>
                </c:pt>
                <c:pt idx="86">
                  <c:v>2</c:v>
                </c:pt>
                <c:pt idx="87">
                  <c:v>2</c:v>
                </c:pt>
                <c:pt idx="88">
                  <c:v>1</c:v>
                </c:pt>
                <c:pt idx="89">
                  <c:v>3</c:v>
                </c:pt>
                <c:pt idx="90">
                  <c:v>5</c:v>
                </c:pt>
                <c:pt idx="91">
                  <c:v>2</c:v>
                </c:pt>
                <c:pt idx="92">
                  <c:v>2</c:v>
                </c:pt>
                <c:pt idx="93">
                  <c:v>0</c:v>
                </c:pt>
                <c:pt idx="94">
                  <c:v>1</c:v>
                </c:pt>
                <c:pt idx="95">
                  <c:v>1</c:v>
                </c:pt>
                <c:pt idx="96">
                  <c:v>1</c:v>
                </c:pt>
                <c:pt idx="97">
                  <c:v>3</c:v>
                </c:pt>
                <c:pt idx="98">
                  <c:v>4</c:v>
                </c:pt>
                <c:pt idx="99">
                  <c:v>6</c:v>
                </c:pt>
                <c:pt idx="100">
                  <c:v>5</c:v>
                </c:pt>
                <c:pt idx="101">
                  <c:v>1</c:v>
                </c:pt>
                <c:pt idx="102">
                  <c:v>5</c:v>
                </c:pt>
                <c:pt idx="103">
                  <c:v>4</c:v>
                </c:pt>
                <c:pt idx="104">
                  <c:v>1</c:v>
                </c:pt>
                <c:pt idx="105">
                  <c:v>3</c:v>
                </c:pt>
                <c:pt idx="106">
                  <c:v>2</c:v>
                </c:pt>
                <c:pt idx="107">
                  <c:v>0</c:v>
                </c:pt>
                <c:pt idx="108">
                  <c:v>3</c:v>
                </c:pt>
                <c:pt idx="109">
                  <c:v>2</c:v>
                </c:pt>
                <c:pt idx="110">
                  <c:v>3</c:v>
                </c:pt>
                <c:pt idx="111">
                  <c:v>5</c:v>
                </c:pt>
                <c:pt idx="112">
                  <c:v>7</c:v>
                </c:pt>
                <c:pt idx="113">
                  <c:v>4</c:v>
                </c:pt>
                <c:pt idx="114">
                  <c:v>2</c:v>
                </c:pt>
                <c:pt idx="115">
                  <c:v>5</c:v>
                </c:pt>
                <c:pt idx="116">
                  <c:v>8</c:v>
                </c:pt>
                <c:pt idx="117">
                  <c:v>9</c:v>
                </c:pt>
                <c:pt idx="118">
                  <c:v>8</c:v>
                </c:pt>
                <c:pt idx="119">
                  <c:v>5</c:v>
                </c:pt>
                <c:pt idx="120">
                  <c:v>4</c:v>
                </c:pt>
                <c:pt idx="121">
                  <c:v>4</c:v>
                </c:pt>
                <c:pt idx="122">
                  <c:v>2</c:v>
                </c:pt>
                <c:pt idx="123">
                  <c:v>7</c:v>
                </c:pt>
                <c:pt idx="124">
                  <c:v>6</c:v>
                </c:pt>
                <c:pt idx="125">
                  <c:v>8</c:v>
                </c:pt>
                <c:pt idx="126">
                  <c:v>12</c:v>
                </c:pt>
                <c:pt idx="127">
                  <c:v>8</c:v>
                </c:pt>
                <c:pt idx="128">
                  <c:v>4</c:v>
                </c:pt>
                <c:pt idx="129">
                  <c:v>7</c:v>
                </c:pt>
                <c:pt idx="130">
                  <c:v>8</c:v>
                </c:pt>
                <c:pt idx="131">
                  <c:v>12</c:v>
                </c:pt>
                <c:pt idx="132">
                  <c:v>13</c:v>
                </c:pt>
                <c:pt idx="133">
                  <c:v>15</c:v>
                </c:pt>
                <c:pt idx="134">
                  <c:v>8</c:v>
                </c:pt>
                <c:pt idx="135">
                  <c:v>7</c:v>
                </c:pt>
                <c:pt idx="136">
                  <c:v>5</c:v>
                </c:pt>
                <c:pt idx="137">
                  <c:v>19</c:v>
                </c:pt>
                <c:pt idx="138">
                  <c:v>31</c:v>
                </c:pt>
                <c:pt idx="139">
                  <c:v>18</c:v>
                </c:pt>
                <c:pt idx="140">
                  <c:v>17</c:v>
                </c:pt>
                <c:pt idx="141">
                  <c:v>14</c:v>
                </c:pt>
                <c:pt idx="142">
                  <c:v>9</c:v>
                </c:pt>
                <c:pt idx="143">
                  <c:v>13</c:v>
                </c:pt>
                <c:pt idx="144">
                  <c:v>38</c:v>
                </c:pt>
                <c:pt idx="145">
                  <c:v>53</c:v>
                </c:pt>
                <c:pt idx="146">
                  <c:v>48</c:v>
                </c:pt>
                <c:pt idx="147">
                  <c:v>53</c:v>
                </c:pt>
                <c:pt idx="148">
                  <c:v>42</c:v>
                </c:pt>
                <c:pt idx="149">
                  <c:v>27</c:v>
                </c:pt>
                <c:pt idx="150">
                  <c:v>19</c:v>
                </c:pt>
                <c:pt idx="151">
                  <c:v>75</c:v>
                </c:pt>
                <c:pt idx="152">
                  <c:v>80</c:v>
                </c:pt>
                <c:pt idx="153">
                  <c:v>63</c:v>
                </c:pt>
                <c:pt idx="154">
                  <c:v>38</c:v>
                </c:pt>
                <c:pt idx="155">
                  <c:v>78</c:v>
                </c:pt>
                <c:pt idx="156">
                  <c:v>50</c:v>
                </c:pt>
                <c:pt idx="157">
                  <c:v>40</c:v>
                </c:pt>
                <c:pt idx="158">
                  <c:v>129</c:v>
                </c:pt>
                <c:pt idx="159">
                  <c:v>129</c:v>
                </c:pt>
                <c:pt idx="160">
                  <c:v>100</c:v>
                </c:pt>
                <c:pt idx="161">
                  <c:v>106</c:v>
                </c:pt>
                <c:pt idx="162">
                  <c:v>126</c:v>
                </c:pt>
                <c:pt idx="163">
                  <c:v>53</c:v>
                </c:pt>
                <c:pt idx="164">
                  <c:v>37</c:v>
                </c:pt>
                <c:pt idx="165">
                  <c:v>127</c:v>
                </c:pt>
                <c:pt idx="166">
                  <c:v>138</c:v>
                </c:pt>
                <c:pt idx="167">
                  <c:v>139</c:v>
                </c:pt>
                <c:pt idx="168">
                  <c:v>113</c:v>
                </c:pt>
                <c:pt idx="169">
                  <c:v>158</c:v>
                </c:pt>
                <c:pt idx="170">
                  <c:v>93</c:v>
                </c:pt>
                <c:pt idx="171">
                  <c:v>49</c:v>
                </c:pt>
                <c:pt idx="172">
                  <c:v>156</c:v>
                </c:pt>
                <c:pt idx="173">
                  <c:v>189</c:v>
                </c:pt>
                <c:pt idx="174">
                  <c:v>136</c:v>
                </c:pt>
                <c:pt idx="175">
                  <c:v>156</c:v>
                </c:pt>
                <c:pt idx="176">
                  <c:v>233</c:v>
                </c:pt>
                <c:pt idx="177">
                  <c:v>118</c:v>
                </c:pt>
                <c:pt idx="178">
                  <c:v>87</c:v>
                </c:pt>
                <c:pt idx="179">
                  <c:v>187</c:v>
                </c:pt>
                <c:pt idx="180">
                  <c:v>184</c:v>
                </c:pt>
                <c:pt idx="181">
                  <c:v>152</c:v>
                </c:pt>
                <c:pt idx="182">
                  <c:v>2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ax val="3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2.331278320671922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27.05.21</c:v>
                </c:pt>
                <c:pt idx="1">
                  <c:v>28.05.21</c:v>
                </c:pt>
                <c:pt idx="2">
                  <c:v>29.05.21</c:v>
                </c:pt>
                <c:pt idx="3">
                  <c:v>30.05.21</c:v>
                </c:pt>
                <c:pt idx="4">
                  <c:v>31.05.21</c:v>
                </c:pt>
                <c:pt idx="5">
                  <c:v>01.06.21</c:v>
                </c:pt>
                <c:pt idx="6">
                  <c:v>02.06.21</c:v>
                </c:pt>
                <c:pt idx="7">
                  <c:v>03.06.21</c:v>
                </c:pt>
                <c:pt idx="8">
                  <c:v>04.06.21</c:v>
                </c:pt>
                <c:pt idx="9">
                  <c:v>05.06.21</c:v>
                </c:pt>
                <c:pt idx="10">
                  <c:v>06.06.21</c:v>
                </c:pt>
                <c:pt idx="11">
                  <c:v>07.06.21</c:v>
                </c:pt>
                <c:pt idx="12">
                  <c:v>08.06.21</c:v>
                </c:pt>
                <c:pt idx="13">
                  <c:v>09.06.21</c:v>
                </c:pt>
                <c:pt idx="14">
                  <c:v>10.06.21</c:v>
                </c:pt>
                <c:pt idx="15">
                  <c:v>11.06.21</c:v>
                </c:pt>
                <c:pt idx="16">
                  <c:v>12.06.21</c:v>
                </c:pt>
                <c:pt idx="17">
                  <c:v>13.06.21</c:v>
                </c:pt>
                <c:pt idx="18">
                  <c:v>14.06.21</c:v>
                </c:pt>
                <c:pt idx="19">
                  <c:v>15.06.21</c:v>
                </c:pt>
                <c:pt idx="20">
                  <c:v>16.06.21</c:v>
                </c:pt>
                <c:pt idx="21">
                  <c:v>17.06.21</c:v>
                </c:pt>
                <c:pt idx="22">
                  <c:v>18.06.21</c:v>
                </c:pt>
                <c:pt idx="23">
                  <c:v>19.06.21</c:v>
                </c:pt>
                <c:pt idx="24">
                  <c:v>20.06.21</c:v>
                </c:pt>
                <c:pt idx="25">
                  <c:v>21.06.21</c:v>
                </c:pt>
                <c:pt idx="26">
                  <c:v>22.06.21</c:v>
                </c:pt>
                <c:pt idx="27">
                  <c:v>23.06.21</c:v>
                </c:pt>
                <c:pt idx="28">
                  <c:v>24.06.21</c:v>
                </c:pt>
                <c:pt idx="29">
                  <c:v>25.06.21</c:v>
                </c:pt>
                <c:pt idx="30">
                  <c:v>26.06.21</c:v>
                </c:pt>
                <c:pt idx="31">
                  <c:v>27.06.21</c:v>
                </c:pt>
                <c:pt idx="32">
                  <c:v>28.06.21</c:v>
                </c:pt>
                <c:pt idx="33">
                  <c:v>29.06.21</c:v>
                </c:pt>
                <c:pt idx="34">
                  <c:v>30.06.21</c:v>
                </c:pt>
                <c:pt idx="35">
                  <c:v>01.07.21</c:v>
                </c:pt>
                <c:pt idx="36">
                  <c:v>02.07.21</c:v>
                </c:pt>
                <c:pt idx="37">
                  <c:v>03.07.21</c:v>
                </c:pt>
                <c:pt idx="38">
                  <c:v>04.07.21</c:v>
                </c:pt>
                <c:pt idx="39">
                  <c:v>05.07.21</c:v>
                </c:pt>
                <c:pt idx="40">
                  <c:v>06.07.21</c:v>
                </c:pt>
                <c:pt idx="41">
                  <c:v>07.07.21</c:v>
                </c:pt>
                <c:pt idx="42">
                  <c:v>08.07.21</c:v>
                </c:pt>
                <c:pt idx="43">
                  <c:v>09.07.21</c:v>
                </c:pt>
                <c:pt idx="44">
                  <c:v>10.07.21</c:v>
                </c:pt>
                <c:pt idx="45">
                  <c:v>11.07.21</c:v>
                </c:pt>
                <c:pt idx="46">
                  <c:v>12.07.21</c:v>
                </c:pt>
                <c:pt idx="47">
                  <c:v>13.07.21</c:v>
                </c:pt>
                <c:pt idx="48">
                  <c:v>14.07.21</c:v>
                </c:pt>
                <c:pt idx="49">
                  <c:v>15.07.21</c:v>
                </c:pt>
                <c:pt idx="50">
                  <c:v>16.07.21</c:v>
                </c:pt>
                <c:pt idx="51">
                  <c:v>17.07.21</c:v>
                </c:pt>
                <c:pt idx="52">
                  <c:v>18.07.21</c:v>
                </c:pt>
                <c:pt idx="53">
                  <c:v>19.07.21</c:v>
                </c:pt>
                <c:pt idx="54">
                  <c:v>20.07.21</c:v>
                </c:pt>
                <c:pt idx="55">
                  <c:v>21.07.21</c:v>
                </c:pt>
                <c:pt idx="56">
                  <c:v>22.07.21</c:v>
                </c:pt>
                <c:pt idx="57">
                  <c:v>23.07.21</c:v>
                </c:pt>
                <c:pt idx="58">
                  <c:v>24.07.21</c:v>
                </c:pt>
                <c:pt idx="59">
                  <c:v>25.07.21</c:v>
                </c:pt>
                <c:pt idx="60">
                  <c:v>26.07.21</c:v>
                </c:pt>
                <c:pt idx="61">
                  <c:v>27.07.21</c:v>
                </c:pt>
                <c:pt idx="62">
                  <c:v>28.07.21</c:v>
                </c:pt>
                <c:pt idx="63">
                  <c:v>29.07.21</c:v>
                </c:pt>
                <c:pt idx="64">
                  <c:v>30.07.21</c:v>
                </c:pt>
                <c:pt idx="65">
                  <c:v>31.07.21</c:v>
                </c:pt>
                <c:pt idx="66">
                  <c:v>01.08.21</c:v>
                </c:pt>
                <c:pt idx="67">
                  <c:v>02.08.21</c:v>
                </c:pt>
                <c:pt idx="68">
                  <c:v>03.08.21</c:v>
                </c:pt>
                <c:pt idx="69">
                  <c:v>04.08.21</c:v>
                </c:pt>
                <c:pt idx="70">
                  <c:v>05.08.21</c:v>
                </c:pt>
                <c:pt idx="71">
                  <c:v>06.08.21</c:v>
                </c:pt>
                <c:pt idx="72">
                  <c:v>07.08.21</c:v>
                </c:pt>
                <c:pt idx="73">
                  <c:v>08.08.21</c:v>
                </c:pt>
                <c:pt idx="74">
                  <c:v>09.08.21</c:v>
                </c:pt>
                <c:pt idx="75">
                  <c:v>10.08.21</c:v>
                </c:pt>
                <c:pt idx="76">
                  <c:v>11.08.21</c:v>
                </c:pt>
                <c:pt idx="77">
                  <c:v>12.08.21</c:v>
                </c:pt>
                <c:pt idx="78">
                  <c:v>13.08.21</c:v>
                </c:pt>
                <c:pt idx="79">
                  <c:v>14.08.21</c:v>
                </c:pt>
                <c:pt idx="80">
                  <c:v>15.08.21</c:v>
                </c:pt>
                <c:pt idx="81">
                  <c:v>16.08.21</c:v>
                </c:pt>
                <c:pt idx="82">
                  <c:v>17.08.21</c:v>
                </c:pt>
                <c:pt idx="83">
                  <c:v>18.08.21</c:v>
                </c:pt>
                <c:pt idx="84">
                  <c:v>19.08.21</c:v>
                </c:pt>
                <c:pt idx="85">
                  <c:v>20.08.21</c:v>
                </c:pt>
                <c:pt idx="86">
                  <c:v>21.08.21</c:v>
                </c:pt>
                <c:pt idx="87">
                  <c:v>22.08.21</c:v>
                </c:pt>
                <c:pt idx="88">
                  <c:v>23.08.21</c:v>
                </c:pt>
                <c:pt idx="89">
                  <c:v>24.08.21</c:v>
                </c:pt>
                <c:pt idx="90">
                  <c:v>25.08.21</c:v>
                </c:pt>
                <c:pt idx="91">
                  <c:v>26.08.21</c:v>
                </c:pt>
                <c:pt idx="92">
                  <c:v>27.08.21</c:v>
                </c:pt>
                <c:pt idx="93">
                  <c:v>28.08.21</c:v>
                </c:pt>
                <c:pt idx="94">
                  <c:v>29.08.21</c:v>
                </c:pt>
                <c:pt idx="95">
                  <c:v>30.08.21</c:v>
                </c:pt>
                <c:pt idx="96">
                  <c:v>31.08.21</c:v>
                </c:pt>
                <c:pt idx="97">
                  <c:v>01.09.21</c:v>
                </c:pt>
                <c:pt idx="98">
                  <c:v>02.09.21</c:v>
                </c:pt>
                <c:pt idx="99">
                  <c:v>03.09.21</c:v>
                </c:pt>
                <c:pt idx="100">
                  <c:v>04.09.21</c:v>
                </c:pt>
                <c:pt idx="101">
                  <c:v>05.09.21</c:v>
                </c:pt>
                <c:pt idx="102">
                  <c:v>06.09.21</c:v>
                </c:pt>
                <c:pt idx="103">
                  <c:v>07.09.21</c:v>
                </c:pt>
                <c:pt idx="104">
                  <c:v>08.09.21</c:v>
                </c:pt>
                <c:pt idx="105">
                  <c:v>09.09.21</c:v>
                </c:pt>
                <c:pt idx="106">
                  <c:v>10.09.21</c:v>
                </c:pt>
                <c:pt idx="107">
                  <c:v>11.09.21</c:v>
                </c:pt>
                <c:pt idx="108">
                  <c:v>12.09.21</c:v>
                </c:pt>
                <c:pt idx="109">
                  <c:v>13.09.21</c:v>
                </c:pt>
                <c:pt idx="110">
                  <c:v>14.09.21</c:v>
                </c:pt>
                <c:pt idx="111">
                  <c:v>15.09.21</c:v>
                </c:pt>
                <c:pt idx="112">
                  <c:v>16.09.21</c:v>
                </c:pt>
                <c:pt idx="113">
                  <c:v>17.09.21</c:v>
                </c:pt>
                <c:pt idx="114">
                  <c:v>18.09.21</c:v>
                </c:pt>
                <c:pt idx="115">
                  <c:v>19.09.21</c:v>
                </c:pt>
                <c:pt idx="116">
                  <c:v>20.09.21</c:v>
                </c:pt>
                <c:pt idx="117">
                  <c:v>21.09.21</c:v>
                </c:pt>
                <c:pt idx="118">
                  <c:v>22.09.21</c:v>
                </c:pt>
                <c:pt idx="119">
                  <c:v>23.09.21</c:v>
                </c:pt>
                <c:pt idx="120">
                  <c:v>24.09.21</c:v>
                </c:pt>
                <c:pt idx="121">
                  <c:v>25.09.21</c:v>
                </c:pt>
                <c:pt idx="122">
                  <c:v>26.09.21</c:v>
                </c:pt>
                <c:pt idx="123">
                  <c:v>27.09.21</c:v>
                </c:pt>
                <c:pt idx="124">
                  <c:v>28.09.21</c:v>
                </c:pt>
                <c:pt idx="125">
                  <c:v>29.09.21</c:v>
                </c:pt>
                <c:pt idx="126">
                  <c:v>30.09.21</c:v>
                </c:pt>
                <c:pt idx="127">
                  <c:v>01.10.21</c:v>
                </c:pt>
                <c:pt idx="128">
                  <c:v>02.10.21</c:v>
                </c:pt>
                <c:pt idx="129">
                  <c:v>03.10.21</c:v>
                </c:pt>
                <c:pt idx="130">
                  <c:v>04.10.21</c:v>
                </c:pt>
                <c:pt idx="131">
                  <c:v>05.10.21</c:v>
                </c:pt>
                <c:pt idx="132">
                  <c:v>06.10.21</c:v>
                </c:pt>
                <c:pt idx="133">
                  <c:v>07.10.21</c:v>
                </c:pt>
                <c:pt idx="134">
                  <c:v>08.10.21</c:v>
                </c:pt>
                <c:pt idx="135">
                  <c:v>09.10.21</c:v>
                </c:pt>
                <c:pt idx="136">
                  <c:v>10.10.21</c:v>
                </c:pt>
                <c:pt idx="137">
                  <c:v>11.10.21</c:v>
                </c:pt>
                <c:pt idx="138">
                  <c:v>12.10.21</c:v>
                </c:pt>
                <c:pt idx="139">
                  <c:v>13.10.21</c:v>
                </c:pt>
                <c:pt idx="140">
                  <c:v>14.10.21</c:v>
                </c:pt>
                <c:pt idx="141">
                  <c:v>15.10.21</c:v>
                </c:pt>
                <c:pt idx="142">
                  <c:v>16.10.21</c:v>
                </c:pt>
                <c:pt idx="143">
                  <c:v>17.10.21</c:v>
                </c:pt>
                <c:pt idx="144">
                  <c:v>18.10.21</c:v>
                </c:pt>
                <c:pt idx="145">
                  <c:v>19.10.21</c:v>
                </c:pt>
                <c:pt idx="146">
                  <c:v>20.10.21</c:v>
                </c:pt>
                <c:pt idx="147">
                  <c:v>21.10.21</c:v>
                </c:pt>
                <c:pt idx="148">
                  <c:v>22.10.21</c:v>
                </c:pt>
                <c:pt idx="149">
                  <c:v>23.10.21</c:v>
                </c:pt>
                <c:pt idx="150">
                  <c:v>24.10.21</c:v>
                </c:pt>
                <c:pt idx="151">
                  <c:v>25.10.21</c:v>
                </c:pt>
                <c:pt idx="152">
                  <c:v>26.10.21</c:v>
                </c:pt>
                <c:pt idx="153">
                  <c:v>27.10.21</c:v>
                </c:pt>
                <c:pt idx="154">
                  <c:v>28.10.21</c:v>
                </c:pt>
                <c:pt idx="155">
                  <c:v>29.10.21</c:v>
                </c:pt>
                <c:pt idx="156">
                  <c:v>30.10.21</c:v>
                </c:pt>
                <c:pt idx="157">
                  <c:v>31.10.21</c:v>
                </c:pt>
                <c:pt idx="158">
                  <c:v>01.11.21</c:v>
                </c:pt>
                <c:pt idx="159">
                  <c:v>02.11.21</c:v>
                </c:pt>
                <c:pt idx="160">
                  <c:v>03.11.21</c:v>
                </c:pt>
                <c:pt idx="161">
                  <c:v>04.11.21</c:v>
                </c:pt>
                <c:pt idx="162">
                  <c:v>05.11.21</c:v>
                </c:pt>
                <c:pt idx="163">
                  <c:v>06.11.21</c:v>
                </c:pt>
                <c:pt idx="164">
                  <c:v>07.11.21</c:v>
                </c:pt>
                <c:pt idx="165">
                  <c:v>08.11.21</c:v>
                </c:pt>
                <c:pt idx="166">
                  <c:v>09.11.21</c:v>
                </c:pt>
                <c:pt idx="167">
                  <c:v>10.11.21</c:v>
                </c:pt>
                <c:pt idx="168">
                  <c:v>11.11.21</c:v>
                </c:pt>
                <c:pt idx="169">
                  <c:v>12.11.21</c:v>
                </c:pt>
                <c:pt idx="170">
                  <c:v>13.11.21</c:v>
                </c:pt>
                <c:pt idx="171">
                  <c:v>14.11.21</c:v>
                </c:pt>
                <c:pt idx="172">
                  <c:v>15.11.21</c:v>
                </c:pt>
                <c:pt idx="173">
                  <c:v>16.11.21</c:v>
                </c:pt>
                <c:pt idx="174">
                  <c:v>17.11.21</c:v>
                </c:pt>
                <c:pt idx="175">
                  <c:v>18.11.21</c:v>
                </c:pt>
                <c:pt idx="176">
                  <c:v>19.11.21</c:v>
                </c:pt>
                <c:pt idx="177">
                  <c:v>20.11.21</c:v>
                </c:pt>
                <c:pt idx="178">
                  <c:v>21.11.21</c:v>
                </c:pt>
                <c:pt idx="179">
                  <c:v>22.11.21</c:v>
                </c:pt>
                <c:pt idx="180">
                  <c:v>23.11.21</c:v>
                </c:pt>
                <c:pt idx="181">
                  <c:v>24.11.21</c:v>
                </c:pt>
                <c:pt idx="182">
                  <c:v>25.11.21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20</c:v>
                </c:pt>
                <c:pt idx="1">
                  <c:v>19</c:v>
                </c:pt>
                <c:pt idx="2">
                  <c:v>18</c:v>
                </c:pt>
                <c:pt idx="3">
                  <c:v>19</c:v>
                </c:pt>
                <c:pt idx="4">
                  <c:v>17</c:v>
                </c:pt>
                <c:pt idx="5">
                  <c:v>17</c:v>
                </c:pt>
                <c:pt idx="6">
                  <c:v>15</c:v>
                </c:pt>
                <c:pt idx="7">
                  <c:v>14</c:v>
                </c:pt>
                <c:pt idx="8">
                  <c:v>12</c:v>
                </c:pt>
                <c:pt idx="9">
                  <c:v>11</c:v>
                </c:pt>
                <c:pt idx="10">
                  <c:v>11</c:v>
                </c:pt>
                <c:pt idx="11">
                  <c:v>10</c:v>
                </c:pt>
                <c:pt idx="12">
                  <c:v>9</c:v>
                </c:pt>
                <c:pt idx="13">
                  <c:v>7</c:v>
                </c:pt>
                <c:pt idx="14">
                  <c:v>4</c:v>
                </c:pt>
                <c:pt idx="15">
                  <c:v>4</c:v>
                </c:pt>
                <c:pt idx="16">
                  <c:v>3</c:v>
                </c:pt>
                <c:pt idx="17">
                  <c:v>0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3</c:v>
                </c:pt>
                <c:pt idx="39">
                  <c:v>3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5</c:v>
                </c:pt>
                <c:pt idx="44">
                  <c:v>5</c:v>
                </c:pt>
                <c:pt idx="45">
                  <c:v>5</c:v>
                </c:pt>
                <c:pt idx="46">
                  <c:v>7</c:v>
                </c:pt>
                <c:pt idx="47">
                  <c:v>8</c:v>
                </c:pt>
                <c:pt idx="48">
                  <c:v>7</c:v>
                </c:pt>
                <c:pt idx="49">
                  <c:v>7</c:v>
                </c:pt>
                <c:pt idx="50">
                  <c:v>10</c:v>
                </c:pt>
                <c:pt idx="51">
                  <c:v>12</c:v>
                </c:pt>
                <c:pt idx="52">
                  <c:v>12</c:v>
                </c:pt>
                <c:pt idx="53">
                  <c:v>14</c:v>
                </c:pt>
                <c:pt idx="54">
                  <c:v>16</c:v>
                </c:pt>
                <c:pt idx="55">
                  <c:v>18</c:v>
                </c:pt>
                <c:pt idx="56">
                  <c:v>21</c:v>
                </c:pt>
                <c:pt idx="57">
                  <c:v>20</c:v>
                </c:pt>
                <c:pt idx="58">
                  <c:v>20</c:v>
                </c:pt>
                <c:pt idx="59">
                  <c:v>21</c:v>
                </c:pt>
                <c:pt idx="60">
                  <c:v>21</c:v>
                </c:pt>
                <c:pt idx="61">
                  <c:v>22</c:v>
                </c:pt>
                <c:pt idx="62">
                  <c:v>23</c:v>
                </c:pt>
                <c:pt idx="63">
                  <c:v>24</c:v>
                </c:pt>
                <c:pt idx="64">
                  <c:v>22</c:v>
                </c:pt>
                <c:pt idx="65">
                  <c:v>21</c:v>
                </c:pt>
                <c:pt idx="66">
                  <c:v>20</c:v>
                </c:pt>
                <c:pt idx="67">
                  <c:v>18</c:v>
                </c:pt>
                <c:pt idx="68">
                  <c:v>16</c:v>
                </c:pt>
                <c:pt idx="69">
                  <c:v>19</c:v>
                </c:pt>
                <c:pt idx="70">
                  <c:v>17</c:v>
                </c:pt>
                <c:pt idx="71">
                  <c:v>19</c:v>
                </c:pt>
                <c:pt idx="72">
                  <c:v>16</c:v>
                </c:pt>
                <c:pt idx="73">
                  <c:v>18</c:v>
                </c:pt>
                <c:pt idx="74">
                  <c:v>18</c:v>
                </c:pt>
                <c:pt idx="75">
                  <c:v>18</c:v>
                </c:pt>
                <c:pt idx="76">
                  <c:v>18</c:v>
                </c:pt>
                <c:pt idx="77">
                  <c:v>19</c:v>
                </c:pt>
                <c:pt idx="78">
                  <c:v>19</c:v>
                </c:pt>
                <c:pt idx="79">
                  <c:v>19</c:v>
                </c:pt>
                <c:pt idx="80">
                  <c:v>19</c:v>
                </c:pt>
                <c:pt idx="81">
                  <c:v>22</c:v>
                </c:pt>
                <c:pt idx="82">
                  <c:v>19</c:v>
                </c:pt>
                <c:pt idx="83">
                  <c:v>16</c:v>
                </c:pt>
                <c:pt idx="84">
                  <c:v>16</c:v>
                </c:pt>
                <c:pt idx="85">
                  <c:v>15</c:v>
                </c:pt>
                <c:pt idx="86">
                  <c:v>14</c:v>
                </c:pt>
                <c:pt idx="87">
                  <c:v>12</c:v>
                </c:pt>
                <c:pt idx="88">
                  <c:v>13</c:v>
                </c:pt>
                <c:pt idx="89">
                  <c:v>12</c:v>
                </c:pt>
                <c:pt idx="90">
                  <c:v>10</c:v>
                </c:pt>
                <c:pt idx="91">
                  <c:v>11</c:v>
                </c:pt>
                <c:pt idx="92">
                  <c:v>11</c:v>
                </c:pt>
                <c:pt idx="93">
                  <c:v>12</c:v>
                </c:pt>
                <c:pt idx="94">
                  <c:v>11</c:v>
                </c:pt>
                <c:pt idx="95">
                  <c:v>9</c:v>
                </c:pt>
                <c:pt idx="96">
                  <c:v>13</c:v>
                </c:pt>
                <c:pt idx="97">
                  <c:v>16</c:v>
                </c:pt>
                <c:pt idx="98">
                  <c:v>17</c:v>
                </c:pt>
                <c:pt idx="99">
                  <c:v>17</c:v>
                </c:pt>
                <c:pt idx="100">
                  <c:v>20</c:v>
                </c:pt>
                <c:pt idx="101">
                  <c:v>21</c:v>
                </c:pt>
                <c:pt idx="102">
                  <c:v>19</c:v>
                </c:pt>
                <c:pt idx="103">
                  <c:v>20</c:v>
                </c:pt>
                <c:pt idx="104">
                  <c:v>19</c:v>
                </c:pt>
                <c:pt idx="105">
                  <c:v>19</c:v>
                </c:pt>
                <c:pt idx="106">
                  <c:v>20</c:v>
                </c:pt>
                <c:pt idx="107">
                  <c:v>23</c:v>
                </c:pt>
                <c:pt idx="108">
                  <c:v>22</c:v>
                </c:pt>
                <c:pt idx="109">
                  <c:v>24</c:v>
                </c:pt>
                <c:pt idx="110">
                  <c:v>23</c:v>
                </c:pt>
                <c:pt idx="111">
                  <c:v>20</c:v>
                </c:pt>
                <c:pt idx="112">
                  <c:v>21</c:v>
                </c:pt>
                <c:pt idx="113">
                  <c:v>21</c:v>
                </c:pt>
                <c:pt idx="114">
                  <c:v>20</c:v>
                </c:pt>
                <c:pt idx="115">
                  <c:v>20</c:v>
                </c:pt>
                <c:pt idx="116">
                  <c:v>18</c:v>
                </c:pt>
                <c:pt idx="117">
                  <c:v>21</c:v>
                </c:pt>
                <c:pt idx="118">
                  <c:v>24</c:v>
                </c:pt>
                <c:pt idx="119">
                  <c:v>24</c:v>
                </c:pt>
                <c:pt idx="120">
                  <c:v>25</c:v>
                </c:pt>
                <c:pt idx="121">
                  <c:v>23</c:v>
                </c:pt>
                <c:pt idx="122">
                  <c:v>23</c:v>
                </c:pt>
                <c:pt idx="123">
                  <c:v>25</c:v>
                </c:pt>
                <c:pt idx="124">
                  <c:v>29</c:v>
                </c:pt>
                <c:pt idx="125">
                  <c:v>32</c:v>
                </c:pt>
                <c:pt idx="126">
                  <c:v>40</c:v>
                </c:pt>
                <c:pt idx="127">
                  <c:v>41</c:v>
                </c:pt>
                <c:pt idx="128">
                  <c:v>45</c:v>
                </c:pt>
                <c:pt idx="129">
                  <c:v>45</c:v>
                </c:pt>
                <c:pt idx="130">
                  <c:v>44</c:v>
                </c:pt>
                <c:pt idx="131">
                  <c:v>43</c:v>
                </c:pt>
                <c:pt idx="132">
                  <c:v>44</c:v>
                </c:pt>
                <c:pt idx="133">
                  <c:v>49</c:v>
                </c:pt>
                <c:pt idx="134">
                  <c:v>52</c:v>
                </c:pt>
                <c:pt idx="135">
                  <c:v>53</c:v>
                </c:pt>
                <c:pt idx="136">
                  <c:v>52</c:v>
                </c:pt>
                <c:pt idx="137">
                  <c:v>46</c:v>
                </c:pt>
                <c:pt idx="138">
                  <c:v>55</c:v>
                </c:pt>
                <c:pt idx="139">
                  <c:v>52</c:v>
                </c:pt>
                <c:pt idx="140">
                  <c:v>55</c:v>
                </c:pt>
                <c:pt idx="141">
                  <c:v>58</c:v>
                </c:pt>
                <c:pt idx="142">
                  <c:v>61</c:v>
                </c:pt>
                <c:pt idx="143">
                  <c:v>67</c:v>
                </c:pt>
                <c:pt idx="144">
                  <c:v>84</c:v>
                </c:pt>
                <c:pt idx="145">
                  <c:v>97</c:v>
                </c:pt>
                <c:pt idx="146">
                  <c:v>105</c:v>
                </c:pt>
                <c:pt idx="147">
                  <c:v>112</c:v>
                </c:pt>
                <c:pt idx="148">
                  <c:v>123</c:v>
                </c:pt>
                <c:pt idx="149">
                  <c:v>135</c:v>
                </c:pt>
                <c:pt idx="150">
                  <c:v>145</c:v>
                </c:pt>
                <c:pt idx="151">
                  <c:v>171</c:v>
                </c:pt>
                <c:pt idx="152">
                  <c:v>178</c:v>
                </c:pt>
                <c:pt idx="153">
                  <c:v>197</c:v>
                </c:pt>
                <c:pt idx="154">
                  <c:v>211</c:v>
                </c:pt>
                <c:pt idx="155">
                  <c:v>241</c:v>
                </c:pt>
                <c:pt idx="156">
                  <c:v>257</c:v>
                </c:pt>
                <c:pt idx="157">
                  <c:v>263</c:v>
                </c:pt>
                <c:pt idx="158">
                  <c:v>302</c:v>
                </c:pt>
                <c:pt idx="159">
                  <c:v>323</c:v>
                </c:pt>
                <c:pt idx="160">
                  <c:v>346</c:v>
                </c:pt>
                <c:pt idx="161">
                  <c:v>360</c:v>
                </c:pt>
                <c:pt idx="162">
                  <c:v>377</c:v>
                </c:pt>
                <c:pt idx="163">
                  <c:v>384</c:v>
                </c:pt>
                <c:pt idx="164">
                  <c:v>393</c:v>
                </c:pt>
                <c:pt idx="165">
                  <c:v>412</c:v>
                </c:pt>
                <c:pt idx="166">
                  <c:v>441</c:v>
                </c:pt>
                <c:pt idx="167">
                  <c:v>458</c:v>
                </c:pt>
                <c:pt idx="168">
                  <c:v>489</c:v>
                </c:pt>
                <c:pt idx="169">
                  <c:v>487</c:v>
                </c:pt>
                <c:pt idx="170">
                  <c:v>522</c:v>
                </c:pt>
                <c:pt idx="171">
                  <c:v>527</c:v>
                </c:pt>
                <c:pt idx="172">
                  <c:v>526</c:v>
                </c:pt>
                <c:pt idx="173">
                  <c:v>553</c:v>
                </c:pt>
                <c:pt idx="174">
                  <c:v>558</c:v>
                </c:pt>
                <c:pt idx="175">
                  <c:v>580</c:v>
                </c:pt>
                <c:pt idx="176">
                  <c:v>625</c:v>
                </c:pt>
                <c:pt idx="177">
                  <c:v>650</c:v>
                </c:pt>
                <c:pt idx="178">
                  <c:v>653</c:v>
                </c:pt>
                <c:pt idx="179">
                  <c:v>711</c:v>
                </c:pt>
                <c:pt idx="180">
                  <c:v>774</c:v>
                </c:pt>
                <c:pt idx="181">
                  <c:v>806</c:v>
                </c:pt>
                <c:pt idx="182">
                  <c:v>8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CD-4BA3-857E-B86804E5EE0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28575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1.7754105636927238E-3"/>
                  <c:y val="9.1782611050075675E-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197070572569906"/>
                      <c:h val="4.732494990964000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GB$1</c:f>
              <c:strCache>
                <c:ptCount val="183"/>
                <c:pt idx="0">
                  <c:v>27.05.21</c:v>
                </c:pt>
                <c:pt idx="1">
                  <c:v>28.05.21</c:v>
                </c:pt>
                <c:pt idx="2">
                  <c:v>29.05.21</c:v>
                </c:pt>
                <c:pt idx="3">
                  <c:v>30.05.21</c:v>
                </c:pt>
                <c:pt idx="4">
                  <c:v>31.05.21</c:v>
                </c:pt>
                <c:pt idx="5">
                  <c:v>01.06.21</c:v>
                </c:pt>
                <c:pt idx="6">
                  <c:v>02.06.21</c:v>
                </c:pt>
                <c:pt idx="7">
                  <c:v>03.06.21</c:v>
                </c:pt>
                <c:pt idx="8">
                  <c:v>04.06.21</c:v>
                </c:pt>
                <c:pt idx="9">
                  <c:v>05.06.21</c:v>
                </c:pt>
                <c:pt idx="10">
                  <c:v>06.06.21</c:v>
                </c:pt>
                <c:pt idx="11">
                  <c:v>07.06.21</c:v>
                </c:pt>
                <c:pt idx="12">
                  <c:v>08.06.21</c:v>
                </c:pt>
                <c:pt idx="13">
                  <c:v>09.06.21</c:v>
                </c:pt>
                <c:pt idx="14">
                  <c:v>10.06.21</c:v>
                </c:pt>
                <c:pt idx="15">
                  <c:v>11.06.21</c:v>
                </c:pt>
                <c:pt idx="16">
                  <c:v>12.06.21</c:v>
                </c:pt>
                <c:pt idx="17">
                  <c:v>13.06.21</c:v>
                </c:pt>
                <c:pt idx="18">
                  <c:v>14.06.21</c:v>
                </c:pt>
                <c:pt idx="19">
                  <c:v>15.06.21</c:v>
                </c:pt>
                <c:pt idx="20">
                  <c:v>16.06.21</c:v>
                </c:pt>
                <c:pt idx="21">
                  <c:v>17.06.21</c:v>
                </c:pt>
                <c:pt idx="22">
                  <c:v>18.06.21</c:v>
                </c:pt>
                <c:pt idx="23">
                  <c:v>19.06.21</c:v>
                </c:pt>
                <c:pt idx="24">
                  <c:v>20.06.21</c:v>
                </c:pt>
                <c:pt idx="25">
                  <c:v>21.06.21</c:v>
                </c:pt>
                <c:pt idx="26">
                  <c:v>22.06.21</c:v>
                </c:pt>
                <c:pt idx="27">
                  <c:v>23.06.21</c:v>
                </c:pt>
                <c:pt idx="28">
                  <c:v>24.06.21</c:v>
                </c:pt>
                <c:pt idx="29">
                  <c:v>25.06.21</c:v>
                </c:pt>
                <c:pt idx="30">
                  <c:v>26.06.21</c:v>
                </c:pt>
                <c:pt idx="31">
                  <c:v>27.06.21</c:v>
                </c:pt>
                <c:pt idx="32">
                  <c:v>28.06.21</c:v>
                </c:pt>
                <c:pt idx="33">
                  <c:v>29.06.21</c:v>
                </c:pt>
                <c:pt idx="34">
                  <c:v>30.06.21</c:v>
                </c:pt>
                <c:pt idx="35">
                  <c:v>01.07.21</c:v>
                </c:pt>
                <c:pt idx="36">
                  <c:v>02.07.21</c:v>
                </c:pt>
                <c:pt idx="37">
                  <c:v>03.07.21</c:v>
                </c:pt>
                <c:pt idx="38">
                  <c:v>04.07.21</c:v>
                </c:pt>
                <c:pt idx="39">
                  <c:v>05.07.21</c:v>
                </c:pt>
                <c:pt idx="40">
                  <c:v>06.07.21</c:v>
                </c:pt>
                <c:pt idx="41">
                  <c:v>07.07.21</c:v>
                </c:pt>
                <c:pt idx="42">
                  <c:v>08.07.21</c:v>
                </c:pt>
                <c:pt idx="43">
                  <c:v>09.07.21</c:v>
                </c:pt>
                <c:pt idx="44">
                  <c:v>10.07.21</c:v>
                </c:pt>
                <c:pt idx="45">
                  <c:v>11.07.21</c:v>
                </c:pt>
                <c:pt idx="46">
                  <c:v>12.07.21</c:v>
                </c:pt>
                <c:pt idx="47">
                  <c:v>13.07.21</c:v>
                </c:pt>
                <c:pt idx="48">
                  <c:v>14.07.21</c:v>
                </c:pt>
                <c:pt idx="49">
                  <c:v>15.07.21</c:v>
                </c:pt>
                <c:pt idx="50">
                  <c:v>16.07.21</c:v>
                </c:pt>
                <c:pt idx="51">
                  <c:v>17.07.21</c:v>
                </c:pt>
                <c:pt idx="52">
                  <c:v>18.07.21</c:v>
                </c:pt>
                <c:pt idx="53">
                  <c:v>19.07.21</c:v>
                </c:pt>
                <c:pt idx="54">
                  <c:v>20.07.21</c:v>
                </c:pt>
                <c:pt idx="55">
                  <c:v>21.07.21</c:v>
                </c:pt>
                <c:pt idx="56">
                  <c:v>22.07.21</c:v>
                </c:pt>
                <c:pt idx="57">
                  <c:v>23.07.21</c:v>
                </c:pt>
                <c:pt idx="58">
                  <c:v>24.07.21</c:v>
                </c:pt>
                <c:pt idx="59">
                  <c:v>25.07.21</c:v>
                </c:pt>
                <c:pt idx="60">
                  <c:v>26.07.21</c:v>
                </c:pt>
                <c:pt idx="61">
                  <c:v>27.07.21</c:v>
                </c:pt>
                <c:pt idx="62">
                  <c:v>28.07.21</c:v>
                </c:pt>
                <c:pt idx="63">
                  <c:v>29.07.21</c:v>
                </c:pt>
                <c:pt idx="64">
                  <c:v>30.07.21</c:v>
                </c:pt>
                <c:pt idx="65">
                  <c:v>31.07.21</c:v>
                </c:pt>
                <c:pt idx="66">
                  <c:v>01.08.21</c:v>
                </c:pt>
                <c:pt idx="67">
                  <c:v>02.08.21</c:v>
                </c:pt>
                <c:pt idx="68">
                  <c:v>03.08.21</c:v>
                </c:pt>
                <c:pt idx="69">
                  <c:v>04.08.21</c:v>
                </c:pt>
                <c:pt idx="70">
                  <c:v>05.08.21</c:v>
                </c:pt>
                <c:pt idx="71">
                  <c:v>06.08.21</c:v>
                </c:pt>
                <c:pt idx="72">
                  <c:v>07.08.21</c:v>
                </c:pt>
                <c:pt idx="73">
                  <c:v>08.08.21</c:v>
                </c:pt>
                <c:pt idx="74">
                  <c:v>09.08.21</c:v>
                </c:pt>
                <c:pt idx="75">
                  <c:v>10.08.21</c:v>
                </c:pt>
                <c:pt idx="76">
                  <c:v>11.08.21</c:v>
                </c:pt>
                <c:pt idx="77">
                  <c:v>12.08.21</c:v>
                </c:pt>
                <c:pt idx="78">
                  <c:v>13.08.21</c:v>
                </c:pt>
                <c:pt idx="79">
                  <c:v>14.08.21</c:v>
                </c:pt>
                <c:pt idx="80">
                  <c:v>15.08.21</c:v>
                </c:pt>
                <c:pt idx="81">
                  <c:v>16.08.21</c:v>
                </c:pt>
                <c:pt idx="82">
                  <c:v>17.08.21</c:v>
                </c:pt>
                <c:pt idx="83">
                  <c:v>18.08.21</c:v>
                </c:pt>
                <c:pt idx="84">
                  <c:v>19.08.21</c:v>
                </c:pt>
                <c:pt idx="85">
                  <c:v>20.08.21</c:v>
                </c:pt>
                <c:pt idx="86">
                  <c:v>21.08.21</c:v>
                </c:pt>
                <c:pt idx="87">
                  <c:v>22.08.21</c:v>
                </c:pt>
                <c:pt idx="88">
                  <c:v>23.08.21</c:v>
                </c:pt>
                <c:pt idx="89">
                  <c:v>24.08.21</c:v>
                </c:pt>
                <c:pt idx="90">
                  <c:v>25.08.21</c:v>
                </c:pt>
                <c:pt idx="91">
                  <c:v>26.08.21</c:v>
                </c:pt>
                <c:pt idx="92">
                  <c:v>27.08.21</c:v>
                </c:pt>
                <c:pt idx="93">
                  <c:v>28.08.21</c:v>
                </c:pt>
                <c:pt idx="94">
                  <c:v>29.08.21</c:v>
                </c:pt>
                <c:pt idx="95">
                  <c:v>30.08.21</c:v>
                </c:pt>
                <c:pt idx="96">
                  <c:v>31.08.21</c:v>
                </c:pt>
                <c:pt idx="97">
                  <c:v>01.09.21</c:v>
                </c:pt>
                <c:pt idx="98">
                  <c:v>02.09.21</c:v>
                </c:pt>
                <c:pt idx="99">
                  <c:v>03.09.21</c:v>
                </c:pt>
                <c:pt idx="100">
                  <c:v>04.09.21</c:v>
                </c:pt>
                <c:pt idx="101">
                  <c:v>05.09.21</c:v>
                </c:pt>
                <c:pt idx="102">
                  <c:v>06.09.21</c:v>
                </c:pt>
                <c:pt idx="103">
                  <c:v>07.09.21</c:v>
                </c:pt>
                <c:pt idx="104">
                  <c:v>08.09.21</c:v>
                </c:pt>
                <c:pt idx="105">
                  <c:v>09.09.21</c:v>
                </c:pt>
                <c:pt idx="106">
                  <c:v>10.09.21</c:v>
                </c:pt>
                <c:pt idx="107">
                  <c:v>11.09.21</c:v>
                </c:pt>
                <c:pt idx="108">
                  <c:v>12.09.21</c:v>
                </c:pt>
                <c:pt idx="109">
                  <c:v>13.09.21</c:v>
                </c:pt>
                <c:pt idx="110">
                  <c:v>14.09.21</c:v>
                </c:pt>
                <c:pt idx="111">
                  <c:v>15.09.21</c:v>
                </c:pt>
                <c:pt idx="112">
                  <c:v>16.09.21</c:v>
                </c:pt>
                <c:pt idx="113">
                  <c:v>17.09.21</c:v>
                </c:pt>
                <c:pt idx="114">
                  <c:v>18.09.21</c:v>
                </c:pt>
                <c:pt idx="115">
                  <c:v>19.09.21</c:v>
                </c:pt>
                <c:pt idx="116">
                  <c:v>20.09.21</c:v>
                </c:pt>
                <c:pt idx="117">
                  <c:v>21.09.21</c:v>
                </c:pt>
                <c:pt idx="118">
                  <c:v>22.09.21</c:v>
                </c:pt>
                <c:pt idx="119">
                  <c:v>23.09.21</c:v>
                </c:pt>
                <c:pt idx="120">
                  <c:v>24.09.21</c:v>
                </c:pt>
                <c:pt idx="121">
                  <c:v>25.09.21</c:v>
                </c:pt>
                <c:pt idx="122">
                  <c:v>26.09.21</c:v>
                </c:pt>
                <c:pt idx="123">
                  <c:v>27.09.21</c:v>
                </c:pt>
                <c:pt idx="124">
                  <c:v>28.09.21</c:v>
                </c:pt>
                <c:pt idx="125">
                  <c:v>29.09.21</c:v>
                </c:pt>
                <c:pt idx="126">
                  <c:v>30.09.21</c:v>
                </c:pt>
                <c:pt idx="127">
                  <c:v>01.10.21</c:v>
                </c:pt>
                <c:pt idx="128">
                  <c:v>02.10.21</c:v>
                </c:pt>
                <c:pt idx="129">
                  <c:v>03.10.21</c:v>
                </c:pt>
                <c:pt idx="130">
                  <c:v>04.10.21</c:v>
                </c:pt>
                <c:pt idx="131">
                  <c:v>05.10.21</c:v>
                </c:pt>
                <c:pt idx="132">
                  <c:v>06.10.21</c:v>
                </c:pt>
                <c:pt idx="133">
                  <c:v>07.10.21</c:v>
                </c:pt>
                <c:pt idx="134">
                  <c:v>08.10.21</c:v>
                </c:pt>
                <c:pt idx="135">
                  <c:v>09.10.21</c:v>
                </c:pt>
                <c:pt idx="136">
                  <c:v>10.10.21</c:v>
                </c:pt>
                <c:pt idx="137">
                  <c:v>11.10.21</c:v>
                </c:pt>
                <c:pt idx="138">
                  <c:v>12.10.21</c:v>
                </c:pt>
                <c:pt idx="139">
                  <c:v>13.10.21</c:v>
                </c:pt>
                <c:pt idx="140">
                  <c:v>14.10.21</c:v>
                </c:pt>
                <c:pt idx="141">
                  <c:v>15.10.21</c:v>
                </c:pt>
                <c:pt idx="142">
                  <c:v>16.10.21</c:v>
                </c:pt>
                <c:pt idx="143">
                  <c:v>17.10.21</c:v>
                </c:pt>
                <c:pt idx="144">
                  <c:v>18.10.21</c:v>
                </c:pt>
                <c:pt idx="145">
                  <c:v>19.10.21</c:v>
                </c:pt>
                <c:pt idx="146">
                  <c:v>20.10.21</c:v>
                </c:pt>
                <c:pt idx="147">
                  <c:v>21.10.21</c:v>
                </c:pt>
                <c:pt idx="148">
                  <c:v>22.10.21</c:v>
                </c:pt>
                <c:pt idx="149">
                  <c:v>23.10.21</c:v>
                </c:pt>
                <c:pt idx="150">
                  <c:v>24.10.21</c:v>
                </c:pt>
                <c:pt idx="151">
                  <c:v>25.10.21</c:v>
                </c:pt>
                <c:pt idx="152">
                  <c:v>26.10.21</c:v>
                </c:pt>
                <c:pt idx="153">
                  <c:v>27.10.21</c:v>
                </c:pt>
                <c:pt idx="154">
                  <c:v>28.10.21</c:v>
                </c:pt>
                <c:pt idx="155">
                  <c:v>29.10.21</c:v>
                </c:pt>
                <c:pt idx="156">
                  <c:v>30.10.21</c:v>
                </c:pt>
                <c:pt idx="157">
                  <c:v>31.10.21</c:v>
                </c:pt>
                <c:pt idx="158">
                  <c:v>01.11.21</c:v>
                </c:pt>
                <c:pt idx="159">
                  <c:v>02.11.21</c:v>
                </c:pt>
                <c:pt idx="160">
                  <c:v>03.11.21</c:v>
                </c:pt>
                <c:pt idx="161">
                  <c:v>04.11.21</c:v>
                </c:pt>
                <c:pt idx="162">
                  <c:v>05.11.21</c:v>
                </c:pt>
                <c:pt idx="163">
                  <c:v>06.11.21</c:v>
                </c:pt>
                <c:pt idx="164">
                  <c:v>07.11.21</c:v>
                </c:pt>
                <c:pt idx="165">
                  <c:v>08.11.21</c:v>
                </c:pt>
                <c:pt idx="166">
                  <c:v>09.11.21</c:v>
                </c:pt>
                <c:pt idx="167">
                  <c:v>10.11.21</c:v>
                </c:pt>
                <c:pt idx="168">
                  <c:v>11.11.21</c:v>
                </c:pt>
                <c:pt idx="169">
                  <c:v>12.11.21</c:v>
                </c:pt>
                <c:pt idx="170">
                  <c:v>13.11.21</c:v>
                </c:pt>
                <c:pt idx="171">
                  <c:v>14.11.21</c:v>
                </c:pt>
                <c:pt idx="172">
                  <c:v>15.11.21</c:v>
                </c:pt>
                <c:pt idx="173">
                  <c:v>16.11.21</c:v>
                </c:pt>
                <c:pt idx="174">
                  <c:v>17.11.21</c:v>
                </c:pt>
                <c:pt idx="175">
                  <c:v>18.11.21</c:v>
                </c:pt>
                <c:pt idx="176">
                  <c:v>19.11.21</c:v>
                </c:pt>
                <c:pt idx="177">
                  <c:v>20.11.21</c:v>
                </c:pt>
                <c:pt idx="178">
                  <c:v>21.11.21</c:v>
                </c:pt>
                <c:pt idx="179">
                  <c:v>22.11.21</c:v>
                </c:pt>
                <c:pt idx="180">
                  <c:v>23.11.21</c:v>
                </c:pt>
                <c:pt idx="181">
                  <c:v>24.11.21</c:v>
                </c:pt>
                <c:pt idx="182">
                  <c:v>25.11.21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56</c:v>
                </c:pt>
                <c:pt idx="1">
                  <c:v>55</c:v>
                </c:pt>
                <c:pt idx="2">
                  <c:v>52</c:v>
                </c:pt>
                <c:pt idx="3">
                  <c:v>51</c:v>
                </c:pt>
                <c:pt idx="4">
                  <c:v>47</c:v>
                </c:pt>
                <c:pt idx="5">
                  <c:v>47</c:v>
                </c:pt>
                <c:pt idx="6">
                  <c:v>43</c:v>
                </c:pt>
                <c:pt idx="7">
                  <c:v>45</c:v>
                </c:pt>
                <c:pt idx="8">
                  <c:v>42</c:v>
                </c:pt>
                <c:pt idx="9">
                  <c:v>40</c:v>
                </c:pt>
                <c:pt idx="10">
                  <c:v>41</c:v>
                </c:pt>
                <c:pt idx="11">
                  <c:v>38</c:v>
                </c:pt>
                <c:pt idx="12">
                  <c:v>34</c:v>
                </c:pt>
                <c:pt idx="13">
                  <c:v>31</c:v>
                </c:pt>
                <c:pt idx="14">
                  <c:v>31</c:v>
                </c:pt>
                <c:pt idx="15">
                  <c:v>27</c:v>
                </c:pt>
                <c:pt idx="16">
                  <c:v>28</c:v>
                </c:pt>
                <c:pt idx="17">
                  <c:v>30</c:v>
                </c:pt>
                <c:pt idx="18">
                  <c:v>28</c:v>
                </c:pt>
                <c:pt idx="19">
                  <c:v>26</c:v>
                </c:pt>
                <c:pt idx="20">
                  <c:v>26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7</c:v>
                </c:pt>
                <c:pt idx="25">
                  <c:v>26</c:v>
                </c:pt>
                <c:pt idx="26">
                  <c:v>24</c:v>
                </c:pt>
                <c:pt idx="27">
                  <c:v>25</c:v>
                </c:pt>
                <c:pt idx="28">
                  <c:v>25</c:v>
                </c:pt>
                <c:pt idx="29">
                  <c:v>24</c:v>
                </c:pt>
                <c:pt idx="30">
                  <c:v>24</c:v>
                </c:pt>
                <c:pt idx="31">
                  <c:v>22</c:v>
                </c:pt>
                <c:pt idx="32">
                  <c:v>23</c:v>
                </c:pt>
                <c:pt idx="33">
                  <c:v>25</c:v>
                </c:pt>
                <c:pt idx="34">
                  <c:v>24</c:v>
                </c:pt>
                <c:pt idx="35">
                  <c:v>23</c:v>
                </c:pt>
                <c:pt idx="36">
                  <c:v>23</c:v>
                </c:pt>
                <c:pt idx="37">
                  <c:v>23</c:v>
                </c:pt>
                <c:pt idx="38">
                  <c:v>24</c:v>
                </c:pt>
                <c:pt idx="39">
                  <c:v>28</c:v>
                </c:pt>
                <c:pt idx="40">
                  <c:v>28</c:v>
                </c:pt>
                <c:pt idx="41">
                  <c:v>28</c:v>
                </c:pt>
                <c:pt idx="42">
                  <c:v>27</c:v>
                </c:pt>
                <c:pt idx="43">
                  <c:v>27</c:v>
                </c:pt>
                <c:pt idx="44">
                  <c:v>27</c:v>
                </c:pt>
                <c:pt idx="45">
                  <c:v>26</c:v>
                </c:pt>
                <c:pt idx="46">
                  <c:v>26</c:v>
                </c:pt>
                <c:pt idx="47">
                  <c:v>28</c:v>
                </c:pt>
                <c:pt idx="48">
                  <c:v>30</c:v>
                </c:pt>
                <c:pt idx="49">
                  <c:v>31</c:v>
                </c:pt>
                <c:pt idx="50">
                  <c:v>29</c:v>
                </c:pt>
                <c:pt idx="51">
                  <c:v>28</c:v>
                </c:pt>
                <c:pt idx="52">
                  <c:v>28</c:v>
                </c:pt>
                <c:pt idx="53">
                  <c:v>30</c:v>
                </c:pt>
                <c:pt idx="54">
                  <c:v>30</c:v>
                </c:pt>
                <c:pt idx="55">
                  <c:v>33</c:v>
                </c:pt>
                <c:pt idx="56">
                  <c:v>33</c:v>
                </c:pt>
                <c:pt idx="57">
                  <c:v>36</c:v>
                </c:pt>
                <c:pt idx="58">
                  <c:v>37</c:v>
                </c:pt>
                <c:pt idx="59">
                  <c:v>38</c:v>
                </c:pt>
                <c:pt idx="60">
                  <c:v>37</c:v>
                </c:pt>
                <c:pt idx="61">
                  <c:v>35</c:v>
                </c:pt>
                <c:pt idx="62">
                  <c:v>34</c:v>
                </c:pt>
                <c:pt idx="63">
                  <c:v>33</c:v>
                </c:pt>
                <c:pt idx="64">
                  <c:v>34</c:v>
                </c:pt>
                <c:pt idx="65">
                  <c:v>34</c:v>
                </c:pt>
                <c:pt idx="66">
                  <c:v>34</c:v>
                </c:pt>
                <c:pt idx="67">
                  <c:v>30</c:v>
                </c:pt>
                <c:pt idx="68">
                  <c:v>32</c:v>
                </c:pt>
                <c:pt idx="69">
                  <c:v>30</c:v>
                </c:pt>
                <c:pt idx="70">
                  <c:v>29</c:v>
                </c:pt>
                <c:pt idx="71">
                  <c:v>26</c:v>
                </c:pt>
                <c:pt idx="72">
                  <c:v>25</c:v>
                </c:pt>
                <c:pt idx="73">
                  <c:v>22</c:v>
                </c:pt>
                <c:pt idx="74">
                  <c:v>24</c:v>
                </c:pt>
                <c:pt idx="75">
                  <c:v>26</c:v>
                </c:pt>
                <c:pt idx="76">
                  <c:v>28</c:v>
                </c:pt>
                <c:pt idx="77">
                  <c:v>28</c:v>
                </c:pt>
                <c:pt idx="78">
                  <c:v>30</c:v>
                </c:pt>
                <c:pt idx="79">
                  <c:v>31</c:v>
                </c:pt>
                <c:pt idx="80">
                  <c:v>32</c:v>
                </c:pt>
                <c:pt idx="81">
                  <c:v>34</c:v>
                </c:pt>
                <c:pt idx="82">
                  <c:v>36</c:v>
                </c:pt>
                <c:pt idx="83">
                  <c:v>37</c:v>
                </c:pt>
                <c:pt idx="84">
                  <c:v>37</c:v>
                </c:pt>
                <c:pt idx="85">
                  <c:v>37</c:v>
                </c:pt>
                <c:pt idx="86">
                  <c:v>37</c:v>
                </c:pt>
                <c:pt idx="87">
                  <c:v>37</c:v>
                </c:pt>
                <c:pt idx="88">
                  <c:v>39</c:v>
                </c:pt>
                <c:pt idx="89">
                  <c:v>40</c:v>
                </c:pt>
                <c:pt idx="90">
                  <c:v>37</c:v>
                </c:pt>
                <c:pt idx="91">
                  <c:v>38</c:v>
                </c:pt>
                <c:pt idx="92">
                  <c:v>37</c:v>
                </c:pt>
                <c:pt idx="93">
                  <c:v>37</c:v>
                </c:pt>
                <c:pt idx="94">
                  <c:v>36</c:v>
                </c:pt>
                <c:pt idx="95">
                  <c:v>31</c:v>
                </c:pt>
                <c:pt idx="96">
                  <c:v>32</c:v>
                </c:pt>
                <c:pt idx="97">
                  <c:v>30</c:v>
                </c:pt>
                <c:pt idx="98">
                  <c:v>35</c:v>
                </c:pt>
                <c:pt idx="99">
                  <c:v>41</c:v>
                </c:pt>
                <c:pt idx="100">
                  <c:v>42</c:v>
                </c:pt>
                <c:pt idx="101">
                  <c:v>40</c:v>
                </c:pt>
                <c:pt idx="102">
                  <c:v>38</c:v>
                </c:pt>
                <c:pt idx="103">
                  <c:v>44</c:v>
                </c:pt>
                <c:pt idx="104">
                  <c:v>44</c:v>
                </c:pt>
                <c:pt idx="105">
                  <c:v>46</c:v>
                </c:pt>
                <c:pt idx="106">
                  <c:v>46</c:v>
                </c:pt>
                <c:pt idx="107">
                  <c:v>45</c:v>
                </c:pt>
                <c:pt idx="108">
                  <c:v>46</c:v>
                </c:pt>
                <c:pt idx="109">
                  <c:v>47</c:v>
                </c:pt>
                <c:pt idx="110">
                  <c:v>50</c:v>
                </c:pt>
                <c:pt idx="111">
                  <c:v>52</c:v>
                </c:pt>
                <c:pt idx="112">
                  <c:v>54</c:v>
                </c:pt>
                <c:pt idx="113">
                  <c:v>53</c:v>
                </c:pt>
                <c:pt idx="114">
                  <c:v>55</c:v>
                </c:pt>
                <c:pt idx="115">
                  <c:v>56</c:v>
                </c:pt>
                <c:pt idx="116">
                  <c:v>62</c:v>
                </c:pt>
                <c:pt idx="117">
                  <c:v>64</c:v>
                </c:pt>
                <c:pt idx="118">
                  <c:v>69</c:v>
                </c:pt>
                <c:pt idx="119">
                  <c:v>72</c:v>
                </c:pt>
                <c:pt idx="120">
                  <c:v>79</c:v>
                </c:pt>
                <c:pt idx="121">
                  <c:v>86</c:v>
                </c:pt>
                <c:pt idx="122">
                  <c:v>88</c:v>
                </c:pt>
                <c:pt idx="123">
                  <c:v>89</c:v>
                </c:pt>
                <c:pt idx="124">
                  <c:v>94</c:v>
                </c:pt>
                <c:pt idx="125">
                  <c:v>100</c:v>
                </c:pt>
                <c:pt idx="126">
                  <c:v>108</c:v>
                </c:pt>
                <c:pt idx="127">
                  <c:v>110</c:v>
                </c:pt>
                <c:pt idx="128">
                  <c:v>111</c:v>
                </c:pt>
                <c:pt idx="129">
                  <c:v>117</c:v>
                </c:pt>
                <c:pt idx="130">
                  <c:v>116</c:v>
                </c:pt>
                <c:pt idx="131">
                  <c:v>124</c:v>
                </c:pt>
                <c:pt idx="132">
                  <c:v>128</c:v>
                </c:pt>
                <c:pt idx="133">
                  <c:v>130</c:v>
                </c:pt>
                <c:pt idx="134">
                  <c:v>130</c:v>
                </c:pt>
                <c:pt idx="135">
                  <c:v>130</c:v>
                </c:pt>
                <c:pt idx="136">
                  <c:v>128</c:v>
                </c:pt>
                <c:pt idx="137">
                  <c:v>139</c:v>
                </c:pt>
                <c:pt idx="138">
                  <c:v>151</c:v>
                </c:pt>
                <c:pt idx="139">
                  <c:v>152</c:v>
                </c:pt>
                <c:pt idx="140">
                  <c:v>160</c:v>
                </c:pt>
                <c:pt idx="141">
                  <c:v>170</c:v>
                </c:pt>
                <c:pt idx="142">
                  <c:v>175</c:v>
                </c:pt>
                <c:pt idx="143">
                  <c:v>178</c:v>
                </c:pt>
                <c:pt idx="144">
                  <c:v>200</c:v>
                </c:pt>
                <c:pt idx="145">
                  <c:v>211</c:v>
                </c:pt>
                <c:pt idx="146">
                  <c:v>227</c:v>
                </c:pt>
                <c:pt idx="147">
                  <c:v>265</c:v>
                </c:pt>
                <c:pt idx="148">
                  <c:v>292</c:v>
                </c:pt>
                <c:pt idx="149">
                  <c:v>321</c:v>
                </c:pt>
                <c:pt idx="150">
                  <c:v>324</c:v>
                </c:pt>
                <c:pt idx="151">
                  <c:v>368</c:v>
                </c:pt>
                <c:pt idx="152">
                  <c:v>414</c:v>
                </c:pt>
                <c:pt idx="153">
                  <c:v>465</c:v>
                </c:pt>
                <c:pt idx="154">
                  <c:v>481</c:v>
                </c:pt>
                <c:pt idx="155">
                  <c:v>539</c:v>
                </c:pt>
                <c:pt idx="156">
                  <c:v>586</c:v>
                </c:pt>
                <c:pt idx="157">
                  <c:v>613</c:v>
                </c:pt>
                <c:pt idx="158">
                  <c:v>675</c:v>
                </c:pt>
                <c:pt idx="159">
                  <c:v>756</c:v>
                </c:pt>
                <c:pt idx="160">
                  <c:v>831</c:v>
                </c:pt>
                <c:pt idx="161">
                  <c:v>874</c:v>
                </c:pt>
                <c:pt idx="162">
                  <c:v>948</c:v>
                </c:pt>
                <c:pt idx="163">
                  <c:v>1003</c:v>
                </c:pt>
                <c:pt idx="164">
                  <c:v>1005</c:v>
                </c:pt>
                <c:pt idx="165">
                  <c:v>1044</c:v>
                </c:pt>
                <c:pt idx="166">
                  <c:v>1121</c:v>
                </c:pt>
                <c:pt idx="167">
                  <c:v>1220</c:v>
                </c:pt>
                <c:pt idx="168">
                  <c:v>1274</c:v>
                </c:pt>
                <c:pt idx="169">
                  <c:v>1344</c:v>
                </c:pt>
                <c:pt idx="170">
                  <c:v>1381</c:v>
                </c:pt>
                <c:pt idx="171">
                  <c:v>1388</c:v>
                </c:pt>
                <c:pt idx="172">
                  <c:v>1420</c:v>
                </c:pt>
                <c:pt idx="173">
                  <c:v>1529</c:v>
                </c:pt>
                <c:pt idx="174">
                  <c:v>1529</c:v>
                </c:pt>
                <c:pt idx="175">
                  <c:v>1585</c:v>
                </c:pt>
                <c:pt idx="176">
                  <c:v>1683</c:v>
                </c:pt>
                <c:pt idx="177">
                  <c:v>1776</c:v>
                </c:pt>
                <c:pt idx="178">
                  <c:v>1821</c:v>
                </c:pt>
                <c:pt idx="179">
                  <c:v>2001</c:v>
                </c:pt>
                <c:pt idx="180">
                  <c:v>2219</c:v>
                </c:pt>
                <c:pt idx="181">
                  <c:v>2339</c:v>
                </c:pt>
                <c:pt idx="182">
                  <c:v>25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7CD-4BA3-857E-B86804E5EE0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-4.662547463082748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27.05.21</c:v>
                </c:pt>
                <c:pt idx="1">
                  <c:v>28.05.21</c:v>
                </c:pt>
                <c:pt idx="2">
                  <c:v>29.05.21</c:v>
                </c:pt>
                <c:pt idx="3">
                  <c:v>30.05.21</c:v>
                </c:pt>
                <c:pt idx="4">
                  <c:v>31.05.21</c:v>
                </c:pt>
                <c:pt idx="5">
                  <c:v>01.06.21</c:v>
                </c:pt>
                <c:pt idx="6">
                  <c:v>02.06.21</c:v>
                </c:pt>
                <c:pt idx="7">
                  <c:v>03.06.21</c:v>
                </c:pt>
                <c:pt idx="8">
                  <c:v>04.06.21</c:v>
                </c:pt>
                <c:pt idx="9">
                  <c:v>05.06.21</c:v>
                </c:pt>
                <c:pt idx="10">
                  <c:v>06.06.21</c:v>
                </c:pt>
                <c:pt idx="11">
                  <c:v>07.06.21</c:v>
                </c:pt>
                <c:pt idx="12">
                  <c:v>08.06.21</c:v>
                </c:pt>
                <c:pt idx="13">
                  <c:v>09.06.21</c:v>
                </c:pt>
                <c:pt idx="14">
                  <c:v>10.06.21</c:v>
                </c:pt>
                <c:pt idx="15">
                  <c:v>11.06.21</c:v>
                </c:pt>
                <c:pt idx="16">
                  <c:v>12.06.21</c:v>
                </c:pt>
                <c:pt idx="17">
                  <c:v>13.06.21</c:v>
                </c:pt>
                <c:pt idx="18">
                  <c:v>14.06.21</c:v>
                </c:pt>
                <c:pt idx="19">
                  <c:v>15.06.21</c:v>
                </c:pt>
                <c:pt idx="20">
                  <c:v>16.06.21</c:v>
                </c:pt>
                <c:pt idx="21">
                  <c:v>17.06.21</c:v>
                </c:pt>
                <c:pt idx="22">
                  <c:v>18.06.21</c:v>
                </c:pt>
                <c:pt idx="23">
                  <c:v>19.06.21</c:v>
                </c:pt>
                <c:pt idx="24">
                  <c:v>20.06.21</c:v>
                </c:pt>
                <c:pt idx="25">
                  <c:v>21.06.21</c:v>
                </c:pt>
                <c:pt idx="26">
                  <c:v>22.06.21</c:v>
                </c:pt>
                <c:pt idx="27">
                  <c:v>23.06.21</c:v>
                </c:pt>
                <c:pt idx="28">
                  <c:v>24.06.21</c:v>
                </c:pt>
                <c:pt idx="29">
                  <c:v>25.06.21</c:v>
                </c:pt>
                <c:pt idx="30">
                  <c:v>26.06.21</c:v>
                </c:pt>
                <c:pt idx="31">
                  <c:v>27.06.21</c:v>
                </c:pt>
                <c:pt idx="32">
                  <c:v>28.06.21</c:v>
                </c:pt>
                <c:pt idx="33">
                  <c:v>29.06.21</c:v>
                </c:pt>
                <c:pt idx="34">
                  <c:v>30.06.21</c:v>
                </c:pt>
                <c:pt idx="35">
                  <c:v>01.07.21</c:v>
                </c:pt>
                <c:pt idx="36">
                  <c:v>02.07.21</c:v>
                </c:pt>
                <c:pt idx="37">
                  <c:v>03.07.21</c:v>
                </c:pt>
                <c:pt idx="38">
                  <c:v>04.07.21</c:v>
                </c:pt>
                <c:pt idx="39">
                  <c:v>05.07.21</c:v>
                </c:pt>
                <c:pt idx="40">
                  <c:v>06.07.21</c:v>
                </c:pt>
                <c:pt idx="41">
                  <c:v>07.07.21</c:v>
                </c:pt>
                <c:pt idx="42">
                  <c:v>08.07.21</c:v>
                </c:pt>
                <c:pt idx="43">
                  <c:v>09.07.21</c:v>
                </c:pt>
                <c:pt idx="44">
                  <c:v>10.07.21</c:v>
                </c:pt>
                <c:pt idx="45">
                  <c:v>11.07.21</c:v>
                </c:pt>
                <c:pt idx="46">
                  <c:v>12.07.21</c:v>
                </c:pt>
                <c:pt idx="47">
                  <c:v>13.07.21</c:v>
                </c:pt>
                <c:pt idx="48">
                  <c:v>14.07.21</c:v>
                </c:pt>
                <c:pt idx="49">
                  <c:v>15.07.21</c:v>
                </c:pt>
                <c:pt idx="50">
                  <c:v>16.07.21</c:v>
                </c:pt>
                <c:pt idx="51">
                  <c:v>17.07.21</c:v>
                </c:pt>
                <c:pt idx="52">
                  <c:v>18.07.21</c:v>
                </c:pt>
                <c:pt idx="53">
                  <c:v>19.07.21</c:v>
                </c:pt>
                <c:pt idx="54">
                  <c:v>20.07.21</c:v>
                </c:pt>
                <c:pt idx="55">
                  <c:v>21.07.21</c:v>
                </c:pt>
                <c:pt idx="56">
                  <c:v>22.07.21</c:v>
                </c:pt>
                <c:pt idx="57">
                  <c:v>23.07.21</c:v>
                </c:pt>
                <c:pt idx="58">
                  <c:v>24.07.21</c:v>
                </c:pt>
                <c:pt idx="59">
                  <c:v>25.07.21</c:v>
                </c:pt>
                <c:pt idx="60">
                  <c:v>26.07.21</c:v>
                </c:pt>
                <c:pt idx="61">
                  <c:v>27.07.21</c:v>
                </c:pt>
                <c:pt idx="62">
                  <c:v>28.07.21</c:v>
                </c:pt>
                <c:pt idx="63">
                  <c:v>29.07.21</c:v>
                </c:pt>
                <c:pt idx="64">
                  <c:v>30.07.21</c:v>
                </c:pt>
                <c:pt idx="65">
                  <c:v>31.07.21</c:v>
                </c:pt>
                <c:pt idx="66">
                  <c:v>01.08.21</c:v>
                </c:pt>
                <c:pt idx="67">
                  <c:v>02.08.21</c:v>
                </c:pt>
                <c:pt idx="68">
                  <c:v>03.08.21</c:v>
                </c:pt>
                <c:pt idx="69">
                  <c:v>04.08.21</c:v>
                </c:pt>
                <c:pt idx="70">
                  <c:v>05.08.21</c:v>
                </c:pt>
                <c:pt idx="71">
                  <c:v>06.08.21</c:v>
                </c:pt>
                <c:pt idx="72">
                  <c:v>07.08.21</c:v>
                </c:pt>
                <c:pt idx="73">
                  <c:v>08.08.21</c:v>
                </c:pt>
                <c:pt idx="74">
                  <c:v>09.08.21</c:v>
                </c:pt>
                <c:pt idx="75">
                  <c:v>10.08.21</c:v>
                </c:pt>
                <c:pt idx="76">
                  <c:v>11.08.21</c:v>
                </c:pt>
                <c:pt idx="77">
                  <c:v>12.08.21</c:v>
                </c:pt>
                <c:pt idx="78">
                  <c:v>13.08.21</c:v>
                </c:pt>
                <c:pt idx="79">
                  <c:v>14.08.21</c:v>
                </c:pt>
                <c:pt idx="80">
                  <c:v>15.08.21</c:v>
                </c:pt>
                <c:pt idx="81">
                  <c:v>16.08.21</c:v>
                </c:pt>
                <c:pt idx="82">
                  <c:v>17.08.21</c:v>
                </c:pt>
                <c:pt idx="83">
                  <c:v>18.08.21</c:v>
                </c:pt>
                <c:pt idx="84">
                  <c:v>19.08.21</c:v>
                </c:pt>
                <c:pt idx="85">
                  <c:v>20.08.21</c:v>
                </c:pt>
                <c:pt idx="86">
                  <c:v>21.08.21</c:v>
                </c:pt>
                <c:pt idx="87">
                  <c:v>22.08.21</c:v>
                </c:pt>
                <c:pt idx="88">
                  <c:v>23.08.21</c:v>
                </c:pt>
                <c:pt idx="89">
                  <c:v>24.08.21</c:v>
                </c:pt>
                <c:pt idx="90">
                  <c:v>25.08.21</c:v>
                </c:pt>
                <c:pt idx="91">
                  <c:v>26.08.21</c:v>
                </c:pt>
                <c:pt idx="92">
                  <c:v>27.08.21</c:v>
                </c:pt>
                <c:pt idx="93">
                  <c:v>28.08.21</c:v>
                </c:pt>
                <c:pt idx="94">
                  <c:v>29.08.21</c:v>
                </c:pt>
                <c:pt idx="95">
                  <c:v>30.08.21</c:v>
                </c:pt>
                <c:pt idx="96">
                  <c:v>31.08.21</c:v>
                </c:pt>
                <c:pt idx="97">
                  <c:v>01.09.21</c:v>
                </c:pt>
                <c:pt idx="98">
                  <c:v>02.09.21</c:v>
                </c:pt>
                <c:pt idx="99">
                  <c:v>03.09.21</c:v>
                </c:pt>
                <c:pt idx="100">
                  <c:v>04.09.21</c:v>
                </c:pt>
                <c:pt idx="101">
                  <c:v>05.09.21</c:v>
                </c:pt>
                <c:pt idx="102">
                  <c:v>06.09.21</c:v>
                </c:pt>
                <c:pt idx="103">
                  <c:v>07.09.21</c:v>
                </c:pt>
                <c:pt idx="104">
                  <c:v>08.09.21</c:v>
                </c:pt>
                <c:pt idx="105">
                  <c:v>09.09.21</c:v>
                </c:pt>
                <c:pt idx="106">
                  <c:v>10.09.21</c:v>
                </c:pt>
                <c:pt idx="107">
                  <c:v>11.09.21</c:v>
                </c:pt>
                <c:pt idx="108">
                  <c:v>12.09.21</c:v>
                </c:pt>
                <c:pt idx="109">
                  <c:v>13.09.21</c:v>
                </c:pt>
                <c:pt idx="110">
                  <c:v>14.09.21</c:v>
                </c:pt>
                <c:pt idx="111">
                  <c:v>15.09.21</c:v>
                </c:pt>
                <c:pt idx="112">
                  <c:v>16.09.21</c:v>
                </c:pt>
                <c:pt idx="113">
                  <c:v>17.09.21</c:v>
                </c:pt>
                <c:pt idx="114">
                  <c:v>18.09.21</c:v>
                </c:pt>
                <c:pt idx="115">
                  <c:v>19.09.21</c:v>
                </c:pt>
                <c:pt idx="116">
                  <c:v>20.09.21</c:v>
                </c:pt>
                <c:pt idx="117">
                  <c:v>21.09.21</c:v>
                </c:pt>
                <c:pt idx="118">
                  <c:v>22.09.21</c:v>
                </c:pt>
                <c:pt idx="119">
                  <c:v>23.09.21</c:v>
                </c:pt>
                <c:pt idx="120">
                  <c:v>24.09.21</c:v>
                </c:pt>
                <c:pt idx="121">
                  <c:v>25.09.21</c:v>
                </c:pt>
                <c:pt idx="122">
                  <c:v>26.09.21</c:v>
                </c:pt>
                <c:pt idx="123">
                  <c:v>27.09.21</c:v>
                </c:pt>
                <c:pt idx="124">
                  <c:v>28.09.21</c:v>
                </c:pt>
                <c:pt idx="125">
                  <c:v>29.09.21</c:v>
                </c:pt>
                <c:pt idx="126">
                  <c:v>30.09.21</c:v>
                </c:pt>
                <c:pt idx="127">
                  <c:v>01.10.21</c:v>
                </c:pt>
                <c:pt idx="128">
                  <c:v>02.10.21</c:v>
                </c:pt>
                <c:pt idx="129">
                  <c:v>03.10.21</c:v>
                </c:pt>
                <c:pt idx="130">
                  <c:v>04.10.21</c:v>
                </c:pt>
                <c:pt idx="131">
                  <c:v>05.10.21</c:v>
                </c:pt>
                <c:pt idx="132">
                  <c:v>06.10.21</c:v>
                </c:pt>
                <c:pt idx="133">
                  <c:v>07.10.21</c:v>
                </c:pt>
                <c:pt idx="134">
                  <c:v>08.10.21</c:v>
                </c:pt>
                <c:pt idx="135">
                  <c:v>09.10.21</c:v>
                </c:pt>
                <c:pt idx="136">
                  <c:v>10.10.21</c:v>
                </c:pt>
                <c:pt idx="137">
                  <c:v>11.10.21</c:v>
                </c:pt>
                <c:pt idx="138">
                  <c:v>12.10.21</c:v>
                </c:pt>
                <c:pt idx="139">
                  <c:v>13.10.21</c:v>
                </c:pt>
                <c:pt idx="140">
                  <c:v>14.10.21</c:v>
                </c:pt>
                <c:pt idx="141">
                  <c:v>15.10.21</c:v>
                </c:pt>
                <c:pt idx="142">
                  <c:v>16.10.21</c:v>
                </c:pt>
                <c:pt idx="143">
                  <c:v>17.10.21</c:v>
                </c:pt>
                <c:pt idx="144">
                  <c:v>18.10.21</c:v>
                </c:pt>
                <c:pt idx="145">
                  <c:v>19.10.21</c:v>
                </c:pt>
                <c:pt idx="146">
                  <c:v>20.10.21</c:v>
                </c:pt>
                <c:pt idx="147">
                  <c:v>21.10.21</c:v>
                </c:pt>
                <c:pt idx="148">
                  <c:v>22.10.21</c:v>
                </c:pt>
                <c:pt idx="149">
                  <c:v>23.10.21</c:v>
                </c:pt>
                <c:pt idx="150">
                  <c:v>24.10.21</c:v>
                </c:pt>
                <c:pt idx="151">
                  <c:v>25.10.21</c:v>
                </c:pt>
                <c:pt idx="152">
                  <c:v>26.10.21</c:v>
                </c:pt>
                <c:pt idx="153">
                  <c:v>27.10.21</c:v>
                </c:pt>
                <c:pt idx="154">
                  <c:v>28.10.21</c:v>
                </c:pt>
                <c:pt idx="155">
                  <c:v>29.10.21</c:v>
                </c:pt>
                <c:pt idx="156">
                  <c:v>30.10.21</c:v>
                </c:pt>
                <c:pt idx="157">
                  <c:v>31.10.21</c:v>
                </c:pt>
                <c:pt idx="158">
                  <c:v>01.11.21</c:v>
                </c:pt>
                <c:pt idx="159">
                  <c:v>02.11.21</c:v>
                </c:pt>
                <c:pt idx="160">
                  <c:v>03.11.21</c:v>
                </c:pt>
                <c:pt idx="161">
                  <c:v>04.11.21</c:v>
                </c:pt>
                <c:pt idx="162">
                  <c:v>05.11.21</c:v>
                </c:pt>
                <c:pt idx="163">
                  <c:v>06.11.21</c:v>
                </c:pt>
                <c:pt idx="164">
                  <c:v>07.11.21</c:v>
                </c:pt>
                <c:pt idx="165">
                  <c:v>08.11.21</c:v>
                </c:pt>
                <c:pt idx="166">
                  <c:v>09.11.21</c:v>
                </c:pt>
                <c:pt idx="167">
                  <c:v>10.11.21</c:v>
                </c:pt>
                <c:pt idx="168">
                  <c:v>11.11.21</c:v>
                </c:pt>
                <c:pt idx="169">
                  <c:v>12.11.21</c:v>
                </c:pt>
                <c:pt idx="170">
                  <c:v>13.11.21</c:v>
                </c:pt>
                <c:pt idx="171">
                  <c:v>14.11.21</c:v>
                </c:pt>
                <c:pt idx="172">
                  <c:v>15.11.21</c:v>
                </c:pt>
                <c:pt idx="173">
                  <c:v>16.11.21</c:v>
                </c:pt>
                <c:pt idx="174">
                  <c:v>17.11.21</c:v>
                </c:pt>
                <c:pt idx="175">
                  <c:v>18.11.21</c:v>
                </c:pt>
                <c:pt idx="176">
                  <c:v>19.11.21</c:v>
                </c:pt>
                <c:pt idx="177">
                  <c:v>20.11.21</c:v>
                </c:pt>
                <c:pt idx="178">
                  <c:v>21.11.21</c:v>
                </c:pt>
                <c:pt idx="179">
                  <c:v>22.11.21</c:v>
                </c:pt>
                <c:pt idx="180">
                  <c:v>23.11.21</c:v>
                </c:pt>
                <c:pt idx="181">
                  <c:v>24.11.21</c:v>
                </c:pt>
                <c:pt idx="182">
                  <c:v>25.11.21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62</c:v>
                </c:pt>
                <c:pt idx="1">
                  <c:v>53</c:v>
                </c:pt>
                <c:pt idx="2">
                  <c:v>52</c:v>
                </c:pt>
                <c:pt idx="3">
                  <c:v>52</c:v>
                </c:pt>
                <c:pt idx="4">
                  <c:v>46</c:v>
                </c:pt>
                <c:pt idx="5">
                  <c:v>41</c:v>
                </c:pt>
                <c:pt idx="6">
                  <c:v>36</c:v>
                </c:pt>
                <c:pt idx="7">
                  <c:v>34</c:v>
                </c:pt>
                <c:pt idx="8">
                  <c:v>30</c:v>
                </c:pt>
                <c:pt idx="9">
                  <c:v>31</c:v>
                </c:pt>
                <c:pt idx="10">
                  <c:v>30</c:v>
                </c:pt>
                <c:pt idx="11">
                  <c:v>27</c:v>
                </c:pt>
                <c:pt idx="12">
                  <c:v>25</c:v>
                </c:pt>
                <c:pt idx="13">
                  <c:v>24</c:v>
                </c:pt>
                <c:pt idx="14">
                  <c:v>23</c:v>
                </c:pt>
                <c:pt idx="15">
                  <c:v>21</c:v>
                </c:pt>
                <c:pt idx="16">
                  <c:v>21</c:v>
                </c:pt>
                <c:pt idx="17">
                  <c:v>21</c:v>
                </c:pt>
                <c:pt idx="18">
                  <c:v>18</c:v>
                </c:pt>
                <c:pt idx="19">
                  <c:v>17</c:v>
                </c:pt>
                <c:pt idx="20">
                  <c:v>18</c:v>
                </c:pt>
                <c:pt idx="21">
                  <c:v>19</c:v>
                </c:pt>
                <c:pt idx="22">
                  <c:v>19</c:v>
                </c:pt>
                <c:pt idx="23">
                  <c:v>17</c:v>
                </c:pt>
                <c:pt idx="24">
                  <c:v>18</c:v>
                </c:pt>
                <c:pt idx="25">
                  <c:v>17</c:v>
                </c:pt>
                <c:pt idx="26">
                  <c:v>15</c:v>
                </c:pt>
                <c:pt idx="27">
                  <c:v>17</c:v>
                </c:pt>
                <c:pt idx="28">
                  <c:v>18</c:v>
                </c:pt>
                <c:pt idx="29">
                  <c:v>17</c:v>
                </c:pt>
                <c:pt idx="30">
                  <c:v>18</c:v>
                </c:pt>
                <c:pt idx="31">
                  <c:v>20</c:v>
                </c:pt>
                <c:pt idx="32">
                  <c:v>20</c:v>
                </c:pt>
                <c:pt idx="33">
                  <c:v>21</c:v>
                </c:pt>
                <c:pt idx="34">
                  <c:v>21</c:v>
                </c:pt>
                <c:pt idx="35">
                  <c:v>20</c:v>
                </c:pt>
                <c:pt idx="36">
                  <c:v>21</c:v>
                </c:pt>
                <c:pt idx="37">
                  <c:v>19</c:v>
                </c:pt>
                <c:pt idx="38">
                  <c:v>19</c:v>
                </c:pt>
                <c:pt idx="39">
                  <c:v>19</c:v>
                </c:pt>
                <c:pt idx="40">
                  <c:v>19</c:v>
                </c:pt>
                <c:pt idx="41">
                  <c:v>19</c:v>
                </c:pt>
                <c:pt idx="42">
                  <c:v>23</c:v>
                </c:pt>
                <c:pt idx="43">
                  <c:v>26</c:v>
                </c:pt>
                <c:pt idx="44">
                  <c:v>25</c:v>
                </c:pt>
                <c:pt idx="45">
                  <c:v>24</c:v>
                </c:pt>
                <c:pt idx="46">
                  <c:v>26</c:v>
                </c:pt>
                <c:pt idx="47">
                  <c:v>26</c:v>
                </c:pt>
                <c:pt idx="48">
                  <c:v>30</c:v>
                </c:pt>
                <c:pt idx="49">
                  <c:v>32</c:v>
                </c:pt>
                <c:pt idx="50">
                  <c:v>36</c:v>
                </c:pt>
                <c:pt idx="51">
                  <c:v>37</c:v>
                </c:pt>
                <c:pt idx="52">
                  <c:v>38</c:v>
                </c:pt>
                <c:pt idx="53">
                  <c:v>40</c:v>
                </c:pt>
                <c:pt idx="54">
                  <c:v>45</c:v>
                </c:pt>
                <c:pt idx="55">
                  <c:v>44</c:v>
                </c:pt>
                <c:pt idx="56">
                  <c:v>43</c:v>
                </c:pt>
                <c:pt idx="57">
                  <c:v>42</c:v>
                </c:pt>
                <c:pt idx="58">
                  <c:v>42</c:v>
                </c:pt>
                <c:pt idx="59">
                  <c:v>42</c:v>
                </c:pt>
                <c:pt idx="60">
                  <c:v>43</c:v>
                </c:pt>
                <c:pt idx="61">
                  <c:v>47</c:v>
                </c:pt>
                <c:pt idx="62">
                  <c:v>44</c:v>
                </c:pt>
                <c:pt idx="63">
                  <c:v>43</c:v>
                </c:pt>
                <c:pt idx="64">
                  <c:v>41</c:v>
                </c:pt>
                <c:pt idx="65">
                  <c:v>41</c:v>
                </c:pt>
                <c:pt idx="66">
                  <c:v>39</c:v>
                </c:pt>
                <c:pt idx="67">
                  <c:v>37</c:v>
                </c:pt>
                <c:pt idx="68">
                  <c:v>39</c:v>
                </c:pt>
                <c:pt idx="69">
                  <c:v>41</c:v>
                </c:pt>
                <c:pt idx="70">
                  <c:v>37</c:v>
                </c:pt>
                <c:pt idx="71">
                  <c:v>38</c:v>
                </c:pt>
                <c:pt idx="72">
                  <c:v>38</c:v>
                </c:pt>
                <c:pt idx="73">
                  <c:v>36</c:v>
                </c:pt>
                <c:pt idx="74">
                  <c:v>39</c:v>
                </c:pt>
                <c:pt idx="75">
                  <c:v>38</c:v>
                </c:pt>
                <c:pt idx="76">
                  <c:v>38</c:v>
                </c:pt>
                <c:pt idx="77">
                  <c:v>37</c:v>
                </c:pt>
                <c:pt idx="78">
                  <c:v>42</c:v>
                </c:pt>
                <c:pt idx="79">
                  <c:v>43</c:v>
                </c:pt>
                <c:pt idx="80">
                  <c:v>43</c:v>
                </c:pt>
                <c:pt idx="81">
                  <c:v>41</c:v>
                </c:pt>
                <c:pt idx="82">
                  <c:v>38</c:v>
                </c:pt>
                <c:pt idx="83">
                  <c:v>37</c:v>
                </c:pt>
                <c:pt idx="84">
                  <c:v>35</c:v>
                </c:pt>
                <c:pt idx="85">
                  <c:v>37</c:v>
                </c:pt>
                <c:pt idx="86">
                  <c:v>38</c:v>
                </c:pt>
                <c:pt idx="87">
                  <c:v>39</c:v>
                </c:pt>
                <c:pt idx="88">
                  <c:v>36</c:v>
                </c:pt>
                <c:pt idx="89">
                  <c:v>37</c:v>
                </c:pt>
                <c:pt idx="90">
                  <c:v>41</c:v>
                </c:pt>
                <c:pt idx="91">
                  <c:v>39</c:v>
                </c:pt>
                <c:pt idx="92">
                  <c:v>38</c:v>
                </c:pt>
                <c:pt idx="93">
                  <c:v>36</c:v>
                </c:pt>
                <c:pt idx="94">
                  <c:v>37</c:v>
                </c:pt>
                <c:pt idx="95">
                  <c:v>35</c:v>
                </c:pt>
                <c:pt idx="96">
                  <c:v>36</c:v>
                </c:pt>
                <c:pt idx="97">
                  <c:v>39</c:v>
                </c:pt>
                <c:pt idx="98">
                  <c:v>43</c:v>
                </c:pt>
                <c:pt idx="99">
                  <c:v>45</c:v>
                </c:pt>
                <c:pt idx="100">
                  <c:v>48</c:v>
                </c:pt>
                <c:pt idx="101">
                  <c:v>47</c:v>
                </c:pt>
                <c:pt idx="102">
                  <c:v>51</c:v>
                </c:pt>
                <c:pt idx="103">
                  <c:v>52</c:v>
                </c:pt>
                <c:pt idx="104">
                  <c:v>49</c:v>
                </c:pt>
                <c:pt idx="105">
                  <c:v>48</c:v>
                </c:pt>
                <c:pt idx="106">
                  <c:v>50</c:v>
                </c:pt>
                <c:pt idx="107">
                  <c:v>49</c:v>
                </c:pt>
                <c:pt idx="108">
                  <c:v>52</c:v>
                </c:pt>
                <c:pt idx="109">
                  <c:v>53</c:v>
                </c:pt>
                <c:pt idx="110">
                  <c:v>52</c:v>
                </c:pt>
                <c:pt idx="111">
                  <c:v>56</c:v>
                </c:pt>
                <c:pt idx="112">
                  <c:v>59</c:v>
                </c:pt>
                <c:pt idx="113">
                  <c:v>57</c:v>
                </c:pt>
                <c:pt idx="114">
                  <c:v>56</c:v>
                </c:pt>
                <c:pt idx="115">
                  <c:v>59</c:v>
                </c:pt>
                <c:pt idx="116">
                  <c:v>60</c:v>
                </c:pt>
                <c:pt idx="117">
                  <c:v>67</c:v>
                </c:pt>
                <c:pt idx="118">
                  <c:v>74</c:v>
                </c:pt>
                <c:pt idx="119">
                  <c:v>76</c:v>
                </c:pt>
                <c:pt idx="120">
                  <c:v>79</c:v>
                </c:pt>
                <c:pt idx="121">
                  <c:v>82</c:v>
                </c:pt>
                <c:pt idx="122">
                  <c:v>81</c:v>
                </c:pt>
                <c:pt idx="123">
                  <c:v>84</c:v>
                </c:pt>
                <c:pt idx="124">
                  <c:v>89</c:v>
                </c:pt>
                <c:pt idx="125">
                  <c:v>90</c:v>
                </c:pt>
                <c:pt idx="126">
                  <c:v>95</c:v>
                </c:pt>
                <c:pt idx="127">
                  <c:v>98</c:v>
                </c:pt>
                <c:pt idx="128">
                  <c:v>100</c:v>
                </c:pt>
                <c:pt idx="129">
                  <c:v>102</c:v>
                </c:pt>
                <c:pt idx="130">
                  <c:v>103</c:v>
                </c:pt>
                <c:pt idx="131">
                  <c:v>105</c:v>
                </c:pt>
                <c:pt idx="132">
                  <c:v>114</c:v>
                </c:pt>
                <c:pt idx="133">
                  <c:v>120</c:v>
                </c:pt>
                <c:pt idx="134">
                  <c:v>125</c:v>
                </c:pt>
                <c:pt idx="135">
                  <c:v>130</c:v>
                </c:pt>
                <c:pt idx="136">
                  <c:v>132</c:v>
                </c:pt>
                <c:pt idx="137">
                  <c:v>141</c:v>
                </c:pt>
                <c:pt idx="138">
                  <c:v>170</c:v>
                </c:pt>
                <c:pt idx="139">
                  <c:v>176</c:v>
                </c:pt>
                <c:pt idx="140">
                  <c:v>185</c:v>
                </c:pt>
                <c:pt idx="141">
                  <c:v>189</c:v>
                </c:pt>
                <c:pt idx="142">
                  <c:v>195</c:v>
                </c:pt>
                <c:pt idx="143">
                  <c:v>199</c:v>
                </c:pt>
                <c:pt idx="144">
                  <c:v>227</c:v>
                </c:pt>
                <c:pt idx="145">
                  <c:v>267</c:v>
                </c:pt>
                <c:pt idx="146">
                  <c:v>304</c:v>
                </c:pt>
                <c:pt idx="147">
                  <c:v>343</c:v>
                </c:pt>
                <c:pt idx="148">
                  <c:v>374</c:v>
                </c:pt>
                <c:pt idx="149">
                  <c:v>397</c:v>
                </c:pt>
                <c:pt idx="150">
                  <c:v>409</c:v>
                </c:pt>
                <c:pt idx="151">
                  <c:v>456</c:v>
                </c:pt>
                <c:pt idx="152">
                  <c:v>509</c:v>
                </c:pt>
                <c:pt idx="153">
                  <c:v>557</c:v>
                </c:pt>
                <c:pt idx="154">
                  <c:v>579</c:v>
                </c:pt>
                <c:pt idx="155">
                  <c:v>643</c:v>
                </c:pt>
                <c:pt idx="156">
                  <c:v>685</c:v>
                </c:pt>
                <c:pt idx="157">
                  <c:v>714</c:v>
                </c:pt>
                <c:pt idx="158">
                  <c:v>786</c:v>
                </c:pt>
                <c:pt idx="159">
                  <c:v>860</c:v>
                </c:pt>
                <c:pt idx="160">
                  <c:v>919</c:v>
                </c:pt>
                <c:pt idx="161">
                  <c:v>972</c:v>
                </c:pt>
                <c:pt idx="162">
                  <c:v>1058</c:v>
                </c:pt>
                <c:pt idx="163">
                  <c:v>1087</c:v>
                </c:pt>
                <c:pt idx="164">
                  <c:v>1089</c:v>
                </c:pt>
                <c:pt idx="165">
                  <c:v>1124</c:v>
                </c:pt>
                <c:pt idx="166">
                  <c:v>1196</c:v>
                </c:pt>
                <c:pt idx="167">
                  <c:v>1270</c:v>
                </c:pt>
                <c:pt idx="168">
                  <c:v>1355</c:v>
                </c:pt>
                <c:pt idx="169">
                  <c:v>1415</c:v>
                </c:pt>
                <c:pt idx="170">
                  <c:v>1463</c:v>
                </c:pt>
                <c:pt idx="171">
                  <c:v>1473</c:v>
                </c:pt>
                <c:pt idx="172">
                  <c:v>1461</c:v>
                </c:pt>
                <c:pt idx="173">
                  <c:v>1534</c:v>
                </c:pt>
                <c:pt idx="174">
                  <c:v>1582</c:v>
                </c:pt>
                <c:pt idx="175">
                  <c:v>1625</c:v>
                </c:pt>
                <c:pt idx="176">
                  <c:v>1751</c:v>
                </c:pt>
                <c:pt idx="177">
                  <c:v>1831</c:v>
                </c:pt>
                <c:pt idx="178">
                  <c:v>1875</c:v>
                </c:pt>
                <c:pt idx="179">
                  <c:v>2061</c:v>
                </c:pt>
                <c:pt idx="180">
                  <c:v>2242</c:v>
                </c:pt>
                <c:pt idx="181">
                  <c:v>2390</c:v>
                </c:pt>
                <c:pt idx="182">
                  <c:v>25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7CD-4BA3-857E-B86804E5EE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14648495541371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dLbl>
              <c:idx val="13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A3F-421B-A24A-264CC3DD701B}"/>
                </c:ext>
              </c:extLst>
            </c:dLbl>
            <c:dLbl>
              <c:idx val="1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487-4B41-A7BA-23E0663C99CB}"/>
                </c:ext>
              </c:extLst>
            </c:dLbl>
            <c:dLbl>
              <c:idx val="13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487-4B41-A7BA-23E0663C99CB}"/>
                </c:ext>
              </c:extLst>
            </c:dLbl>
            <c:dLbl>
              <c:idx val="13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A3F-421B-A24A-264CC3DD701B}"/>
                </c:ext>
              </c:extLst>
            </c:dLbl>
            <c:dLbl>
              <c:idx val="13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487-4B41-A7BA-23E0663C99CB}"/>
                </c:ext>
              </c:extLst>
            </c:dLbl>
            <c:dLbl>
              <c:idx val="14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A3F-421B-A24A-264CC3DD701B}"/>
                </c:ext>
              </c:extLst>
            </c:dLbl>
            <c:dLbl>
              <c:idx val="14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487-4B41-A7BA-23E0663C99CB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290</c:f>
              <c:numCache>
                <c:formatCode>m/d/yyyy</c:formatCode>
                <c:ptCount val="156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70</c:v>
                </c:pt>
                <c:pt idx="5">
                  <c:v>44371</c:v>
                </c:pt>
                <c:pt idx="6">
                  <c:v>44373</c:v>
                </c:pt>
                <c:pt idx="7">
                  <c:v>44374</c:v>
                </c:pt>
                <c:pt idx="8">
                  <c:v>44375</c:v>
                </c:pt>
                <c:pt idx="9">
                  <c:v>44376</c:v>
                </c:pt>
                <c:pt idx="10">
                  <c:v>44378</c:v>
                </c:pt>
                <c:pt idx="11">
                  <c:v>44379</c:v>
                </c:pt>
                <c:pt idx="12">
                  <c:v>44381</c:v>
                </c:pt>
                <c:pt idx="13">
                  <c:v>44382</c:v>
                </c:pt>
                <c:pt idx="14">
                  <c:v>44383</c:v>
                </c:pt>
                <c:pt idx="15">
                  <c:v>44384</c:v>
                </c:pt>
                <c:pt idx="16">
                  <c:v>44385</c:v>
                </c:pt>
                <c:pt idx="17">
                  <c:v>44386</c:v>
                </c:pt>
                <c:pt idx="18">
                  <c:v>44387</c:v>
                </c:pt>
                <c:pt idx="19">
                  <c:v>44389</c:v>
                </c:pt>
                <c:pt idx="20">
                  <c:v>44390</c:v>
                </c:pt>
                <c:pt idx="21">
                  <c:v>44391</c:v>
                </c:pt>
                <c:pt idx="22">
                  <c:v>44392</c:v>
                </c:pt>
                <c:pt idx="23">
                  <c:v>44393</c:v>
                </c:pt>
                <c:pt idx="24">
                  <c:v>44394</c:v>
                </c:pt>
                <c:pt idx="25">
                  <c:v>44395</c:v>
                </c:pt>
                <c:pt idx="26">
                  <c:v>44396</c:v>
                </c:pt>
                <c:pt idx="27">
                  <c:v>44397</c:v>
                </c:pt>
                <c:pt idx="28">
                  <c:v>44398</c:v>
                </c:pt>
                <c:pt idx="29">
                  <c:v>44399</c:v>
                </c:pt>
                <c:pt idx="30">
                  <c:v>44400</c:v>
                </c:pt>
                <c:pt idx="31">
                  <c:v>44401</c:v>
                </c:pt>
                <c:pt idx="32">
                  <c:v>44402</c:v>
                </c:pt>
                <c:pt idx="33">
                  <c:v>44403</c:v>
                </c:pt>
                <c:pt idx="34">
                  <c:v>44404</c:v>
                </c:pt>
                <c:pt idx="35">
                  <c:v>44405</c:v>
                </c:pt>
                <c:pt idx="36">
                  <c:v>44406</c:v>
                </c:pt>
                <c:pt idx="37">
                  <c:v>44407</c:v>
                </c:pt>
                <c:pt idx="38">
                  <c:v>44408</c:v>
                </c:pt>
                <c:pt idx="39">
                  <c:v>44409</c:v>
                </c:pt>
                <c:pt idx="40">
                  <c:v>44410</c:v>
                </c:pt>
                <c:pt idx="41">
                  <c:v>44411</c:v>
                </c:pt>
                <c:pt idx="42">
                  <c:v>44412</c:v>
                </c:pt>
                <c:pt idx="43">
                  <c:v>44413</c:v>
                </c:pt>
                <c:pt idx="44">
                  <c:v>44414</c:v>
                </c:pt>
                <c:pt idx="45">
                  <c:v>44415</c:v>
                </c:pt>
                <c:pt idx="46">
                  <c:v>44416</c:v>
                </c:pt>
                <c:pt idx="47">
                  <c:v>44417</c:v>
                </c:pt>
                <c:pt idx="48">
                  <c:v>44418</c:v>
                </c:pt>
                <c:pt idx="49">
                  <c:v>44419</c:v>
                </c:pt>
                <c:pt idx="50">
                  <c:v>44420</c:v>
                </c:pt>
                <c:pt idx="51">
                  <c:v>44421</c:v>
                </c:pt>
                <c:pt idx="52">
                  <c:v>44422</c:v>
                </c:pt>
                <c:pt idx="53">
                  <c:v>44423</c:v>
                </c:pt>
                <c:pt idx="54">
                  <c:v>44424</c:v>
                </c:pt>
                <c:pt idx="55">
                  <c:v>44425</c:v>
                </c:pt>
                <c:pt idx="56">
                  <c:v>44426</c:v>
                </c:pt>
                <c:pt idx="57">
                  <c:v>44427</c:v>
                </c:pt>
                <c:pt idx="58">
                  <c:v>44428</c:v>
                </c:pt>
                <c:pt idx="59">
                  <c:v>44429</c:v>
                </c:pt>
                <c:pt idx="60">
                  <c:v>44430</c:v>
                </c:pt>
                <c:pt idx="61">
                  <c:v>44431</c:v>
                </c:pt>
                <c:pt idx="62">
                  <c:v>44432</c:v>
                </c:pt>
                <c:pt idx="63">
                  <c:v>44433</c:v>
                </c:pt>
                <c:pt idx="64">
                  <c:v>44434</c:v>
                </c:pt>
                <c:pt idx="65">
                  <c:v>44435</c:v>
                </c:pt>
                <c:pt idx="66">
                  <c:v>44436</c:v>
                </c:pt>
                <c:pt idx="67">
                  <c:v>44437</c:v>
                </c:pt>
                <c:pt idx="68">
                  <c:v>44438</c:v>
                </c:pt>
                <c:pt idx="69">
                  <c:v>44439</c:v>
                </c:pt>
                <c:pt idx="70">
                  <c:v>44440</c:v>
                </c:pt>
                <c:pt idx="71">
                  <c:v>44441</c:v>
                </c:pt>
                <c:pt idx="72">
                  <c:v>44442</c:v>
                </c:pt>
                <c:pt idx="73">
                  <c:v>44443</c:v>
                </c:pt>
                <c:pt idx="74">
                  <c:v>44444</c:v>
                </c:pt>
                <c:pt idx="75">
                  <c:v>44445</c:v>
                </c:pt>
                <c:pt idx="76">
                  <c:v>44446</c:v>
                </c:pt>
                <c:pt idx="77">
                  <c:v>44447</c:v>
                </c:pt>
                <c:pt idx="78">
                  <c:v>44448</c:v>
                </c:pt>
                <c:pt idx="79">
                  <c:v>44449</c:v>
                </c:pt>
                <c:pt idx="80">
                  <c:v>44450</c:v>
                </c:pt>
                <c:pt idx="81">
                  <c:v>44451</c:v>
                </c:pt>
                <c:pt idx="82">
                  <c:v>44452</c:v>
                </c:pt>
                <c:pt idx="83">
                  <c:v>44453</c:v>
                </c:pt>
                <c:pt idx="84">
                  <c:v>44454</c:v>
                </c:pt>
                <c:pt idx="85">
                  <c:v>44455</c:v>
                </c:pt>
                <c:pt idx="86">
                  <c:v>44456</c:v>
                </c:pt>
                <c:pt idx="87">
                  <c:v>44457</c:v>
                </c:pt>
                <c:pt idx="88">
                  <c:v>44458</c:v>
                </c:pt>
                <c:pt idx="89">
                  <c:v>44459</c:v>
                </c:pt>
                <c:pt idx="90">
                  <c:v>44460</c:v>
                </c:pt>
                <c:pt idx="91">
                  <c:v>44461</c:v>
                </c:pt>
                <c:pt idx="92">
                  <c:v>44462</c:v>
                </c:pt>
                <c:pt idx="93">
                  <c:v>44463</c:v>
                </c:pt>
                <c:pt idx="94">
                  <c:v>44464</c:v>
                </c:pt>
                <c:pt idx="95">
                  <c:v>44465</c:v>
                </c:pt>
                <c:pt idx="96">
                  <c:v>44466</c:v>
                </c:pt>
                <c:pt idx="97">
                  <c:v>44467</c:v>
                </c:pt>
                <c:pt idx="98">
                  <c:v>44468</c:v>
                </c:pt>
                <c:pt idx="99">
                  <c:v>44469</c:v>
                </c:pt>
                <c:pt idx="100">
                  <c:v>44470</c:v>
                </c:pt>
                <c:pt idx="101">
                  <c:v>44471</c:v>
                </c:pt>
                <c:pt idx="102">
                  <c:v>44472</c:v>
                </c:pt>
                <c:pt idx="103">
                  <c:v>44473</c:v>
                </c:pt>
                <c:pt idx="104">
                  <c:v>44474</c:v>
                </c:pt>
                <c:pt idx="105">
                  <c:v>44475</c:v>
                </c:pt>
                <c:pt idx="106">
                  <c:v>44476</c:v>
                </c:pt>
                <c:pt idx="107">
                  <c:v>44477</c:v>
                </c:pt>
                <c:pt idx="108">
                  <c:v>44478</c:v>
                </c:pt>
                <c:pt idx="109">
                  <c:v>44479</c:v>
                </c:pt>
                <c:pt idx="110">
                  <c:v>44480</c:v>
                </c:pt>
                <c:pt idx="111">
                  <c:v>44481</c:v>
                </c:pt>
                <c:pt idx="112">
                  <c:v>44482</c:v>
                </c:pt>
                <c:pt idx="113">
                  <c:v>44483</c:v>
                </c:pt>
                <c:pt idx="114">
                  <c:v>44484</c:v>
                </c:pt>
                <c:pt idx="115">
                  <c:v>44485</c:v>
                </c:pt>
                <c:pt idx="116">
                  <c:v>44486</c:v>
                </c:pt>
                <c:pt idx="117">
                  <c:v>44487</c:v>
                </c:pt>
                <c:pt idx="118">
                  <c:v>44488</c:v>
                </c:pt>
                <c:pt idx="119">
                  <c:v>44489</c:v>
                </c:pt>
                <c:pt idx="120">
                  <c:v>44490</c:v>
                </c:pt>
                <c:pt idx="121">
                  <c:v>44491</c:v>
                </c:pt>
                <c:pt idx="122">
                  <c:v>44492</c:v>
                </c:pt>
                <c:pt idx="123">
                  <c:v>44493</c:v>
                </c:pt>
                <c:pt idx="124">
                  <c:v>44494</c:v>
                </c:pt>
                <c:pt idx="125">
                  <c:v>44495</c:v>
                </c:pt>
                <c:pt idx="126">
                  <c:v>44496</c:v>
                </c:pt>
                <c:pt idx="127">
                  <c:v>44497</c:v>
                </c:pt>
                <c:pt idx="128">
                  <c:v>44498</c:v>
                </c:pt>
                <c:pt idx="129">
                  <c:v>44499</c:v>
                </c:pt>
                <c:pt idx="130">
                  <c:v>44500</c:v>
                </c:pt>
                <c:pt idx="131">
                  <c:v>44501</c:v>
                </c:pt>
                <c:pt idx="132">
                  <c:v>44502</c:v>
                </c:pt>
                <c:pt idx="133">
                  <c:v>44503</c:v>
                </c:pt>
                <c:pt idx="134">
                  <c:v>44504</c:v>
                </c:pt>
                <c:pt idx="135">
                  <c:v>44505</c:v>
                </c:pt>
                <c:pt idx="136">
                  <c:v>44506</c:v>
                </c:pt>
                <c:pt idx="137">
                  <c:v>44507</c:v>
                </c:pt>
                <c:pt idx="138">
                  <c:v>44508</c:v>
                </c:pt>
                <c:pt idx="139">
                  <c:v>44509</c:v>
                </c:pt>
                <c:pt idx="140">
                  <c:v>44510</c:v>
                </c:pt>
                <c:pt idx="141">
                  <c:v>44511</c:v>
                </c:pt>
                <c:pt idx="142">
                  <c:v>44512</c:v>
                </c:pt>
                <c:pt idx="143">
                  <c:v>44513</c:v>
                </c:pt>
                <c:pt idx="144">
                  <c:v>44514</c:v>
                </c:pt>
                <c:pt idx="145">
                  <c:v>44515</c:v>
                </c:pt>
                <c:pt idx="146">
                  <c:v>44516</c:v>
                </c:pt>
                <c:pt idx="147">
                  <c:v>44517</c:v>
                </c:pt>
                <c:pt idx="148">
                  <c:v>44518</c:v>
                </c:pt>
                <c:pt idx="149">
                  <c:v>44519</c:v>
                </c:pt>
                <c:pt idx="150">
                  <c:v>44520</c:v>
                </c:pt>
                <c:pt idx="151">
                  <c:v>44521</c:v>
                </c:pt>
                <c:pt idx="152">
                  <c:v>44522</c:v>
                </c:pt>
                <c:pt idx="153">
                  <c:v>44523</c:v>
                </c:pt>
                <c:pt idx="154">
                  <c:v>44524</c:v>
                </c:pt>
                <c:pt idx="155">
                  <c:v>44525</c:v>
                </c:pt>
              </c:numCache>
            </c:numRef>
          </c:cat>
          <c:val>
            <c:numRef>
              <c:f>Sheet1!$B$135:$B$290</c:f>
              <c:numCache>
                <c:formatCode>General</c:formatCode>
                <c:ptCount val="156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0</c:v>
                </c:pt>
                <c:pt idx="19">
                  <c:v>2</c:v>
                </c:pt>
                <c:pt idx="20">
                  <c:v>1</c:v>
                </c:pt>
                <c:pt idx="21">
                  <c:v>0</c:v>
                </c:pt>
                <c:pt idx="22">
                  <c:v>0</c:v>
                </c:pt>
                <c:pt idx="23">
                  <c:v>3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4</c:v>
                </c:pt>
                <c:pt idx="30">
                  <c:v>0</c:v>
                </c:pt>
                <c:pt idx="31">
                  <c:v>0</c:v>
                </c:pt>
                <c:pt idx="32">
                  <c:v>1</c:v>
                </c:pt>
                <c:pt idx="33">
                  <c:v>3</c:v>
                </c:pt>
                <c:pt idx="34">
                  <c:v>1</c:v>
                </c:pt>
                <c:pt idx="35">
                  <c:v>1</c:v>
                </c:pt>
                <c:pt idx="36">
                  <c:v>2</c:v>
                </c:pt>
                <c:pt idx="37">
                  <c:v>2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7</c:v>
                </c:pt>
                <c:pt idx="43">
                  <c:v>1</c:v>
                </c:pt>
                <c:pt idx="44">
                  <c:v>2</c:v>
                </c:pt>
                <c:pt idx="45">
                  <c:v>0</c:v>
                </c:pt>
                <c:pt idx="46">
                  <c:v>3</c:v>
                </c:pt>
                <c:pt idx="47">
                  <c:v>2</c:v>
                </c:pt>
                <c:pt idx="48">
                  <c:v>0</c:v>
                </c:pt>
                <c:pt idx="49">
                  <c:v>4</c:v>
                </c:pt>
                <c:pt idx="50">
                  <c:v>1</c:v>
                </c:pt>
                <c:pt idx="51">
                  <c:v>1</c:v>
                </c:pt>
                <c:pt idx="52">
                  <c:v>0</c:v>
                </c:pt>
                <c:pt idx="53">
                  <c:v>0</c:v>
                </c:pt>
                <c:pt idx="54">
                  <c:v>3</c:v>
                </c:pt>
                <c:pt idx="55">
                  <c:v>0</c:v>
                </c:pt>
                <c:pt idx="56">
                  <c:v>0</c:v>
                </c:pt>
                <c:pt idx="57">
                  <c:v>2</c:v>
                </c:pt>
                <c:pt idx="58">
                  <c:v>1</c:v>
                </c:pt>
                <c:pt idx="59">
                  <c:v>0</c:v>
                </c:pt>
                <c:pt idx="60">
                  <c:v>0</c:v>
                </c:pt>
                <c:pt idx="61">
                  <c:v>2</c:v>
                </c:pt>
                <c:pt idx="62">
                  <c:v>0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0</c:v>
                </c:pt>
                <c:pt idx="68">
                  <c:v>0</c:v>
                </c:pt>
                <c:pt idx="69">
                  <c:v>4</c:v>
                </c:pt>
                <c:pt idx="70">
                  <c:v>4</c:v>
                </c:pt>
                <c:pt idx="71">
                  <c:v>1</c:v>
                </c:pt>
                <c:pt idx="72">
                  <c:v>1</c:v>
                </c:pt>
                <c:pt idx="73">
                  <c:v>3</c:v>
                </c:pt>
                <c:pt idx="74">
                  <c:v>1</c:v>
                </c:pt>
                <c:pt idx="75">
                  <c:v>0</c:v>
                </c:pt>
                <c:pt idx="76">
                  <c:v>2</c:v>
                </c:pt>
                <c:pt idx="77">
                  <c:v>0</c:v>
                </c:pt>
                <c:pt idx="78">
                  <c:v>0</c:v>
                </c:pt>
                <c:pt idx="79">
                  <c:v>3</c:v>
                </c:pt>
                <c:pt idx="80">
                  <c:v>3</c:v>
                </c:pt>
                <c:pt idx="81">
                  <c:v>0</c:v>
                </c:pt>
                <c:pt idx="82">
                  <c:v>4</c:v>
                </c:pt>
                <c:pt idx="83">
                  <c:v>2</c:v>
                </c:pt>
                <c:pt idx="84">
                  <c:v>0</c:v>
                </c:pt>
                <c:pt idx="85">
                  <c:v>1</c:v>
                </c:pt>
                <c:pt idx="86">
                  <c:v>2</c:v>
                </c:pt>
                <c:pt idx="87">
                  <c:v>1</c:v>
                </c:pt>
                <c:pt idx="88">
                  <c:v>1</c:v>
                </c:pt>
                <c:pt idx="89">
                  <c:v>0</c:v>
                </c:pt>
                <c:pt idx="90">
                  <c:v>3</c:v>
                </c:pt>
                <c:pt idx="91">
                  <c:v>3</c:v>
                </c:pt>
                <c:pt idx="92">
                  <c:v>2</c:v>
                </c:pt>
                <c:pt idx="93">
                  <c:v>3</c:v>
                </c:pt>
                <c:pt idx="94">
                  <c:v>0</c:v>
                </c:pt>
                <c:pt idx="95">
                  <c:v>2</c:v>
                </c:pt>
                <c:pt idx="96">
                  <c:v>6</c:v>
                </c:pt>
                <c:pt idx="97">
                  <c:v>4</c:v>
                </c:pt>
                <c:pt idx="98">
                  <c:v>3</c:v>
                </c:pt>
                <c:pt idx="99">
                  <c:v>9</c:v>
                </c:pt>
                <c:pt idx="100">
                  <c:v>2</c:v>
                </c:pt>
                <c:pt idx="101">
                  <c:v>5</c:v>
                </c:pt>
                <c:pt idx="102">
                  <c:v>1</c:v>
                </c:pt>
                <c:pt idx="103">
                  <c:v>0</c:v>
                </c:pt>
                <c:pt idx="104">
                  <c:v>2</c:v>
                </c:pt>
                <c:pt idx="105">
                  <c:v>5</c:v>
                </c:pt>
                <c:pt idx="106">
                  <c:v>6</c:v>
                </c:pt>
                <c:pt idx="107">
                  <c:v>6</c:v>
                </c:pt>
                <c:pt idx="108">
                  <c:v>1</c:v>
                </c:pt>
                <c:pt idx="109">
                  <c:v>1</c:v>
                </c:pt>
                <c:pt idx="110">
                  <c:v>3</c:v>
                </c:pt>
                <c:pt idx="111">
                  <c:v>10</c:v>
                </c:pt>
                <c:pt idx="112">
                  <c:v>7</c:v>
                </c:pt>
                <c:pt idx="113">
                  <c:v>7</c:v>
                </c:pt>
                <c:pt idx="114">
                  <c:v>6</c:v>
                </c:pt>
                <c:pt idx="115">
                  <c:v>5</c:v>
                </c:pt>
                <c:pt idx="116">
                  <c:v>8</c:v>
                </c:pt>
                <c:pt idx="117">
                  <c:v>17</c:v>
                </c:pt>
                <c:pt idx="118">
                  <c:v>17</c:v>
                </c:pt>
                <c:pt idx="119">
                  <c:v>13</c:v>
                </c:pt>
                <c:pt idx="120">
                  <c:v>13</c:v>
                </c:pt>
                <c:pt idx="121">
                  <c:v>17</c:v>
                </c:pt>
                <c:pt idx="122">
                  <c:v>14</c:v>
                </c:pt>
                <c:pt idx="123">
                  <c:v>12</c:v>
                </c:pt>
                <c:pt idx="124">
                  <c:v>29</c:v>
                </c:pt>
                <c:pt idx="125">
                  <c:v>20</c:v>
                </c:pt>
                <c:pt idx="126">
                  <c:v>23</c:v>
                </c:pt>
                <c:pt idx="127">
                  <c:v>22</c:v>
                </c:pt>
                <c:pt idx="128">
                  <c:v>38</c:v>
                </c:pt>
                <c:pt idx="129">
                  <c:v>22</c:v>
                </c:pt>
                <c:pt idx="130">
                  <c:v>18</c:v>
                </c:pt>
                <c:pt idx="131">
                  <c:v>57</c:v>
                </c:pt>
                <c:pt idx="132">
                  <c:v>38</c:v>
                </c:pt>
                <c:pt idx="133">
                  <c:v>39</c:v>
                </c:pt>
                <c:pt idx="134">
                  <c:v>27</c:v>
                </c:pt>
                <c:pt idx="135">
                  <c:v>40</c:v>
                </c:pt>
                <c:pt idx="136">
                  <c:v>21</c:v>
                </c:pt>
                <c:pt idx="137">
                  <c:v>19</c:v>
                </c:pt>
                <c:pt idx="138">
                  <c:v>53</c:v>
                </c:pt>
                <c:pt idx="139">
                  <c:v>46</c:v>
                </c:pt>
                <c:pt idx="140">
                  <c:v>48</c:v>
                </c:pt>
                <c:pt idx="141">
                  <c:v>48</c:v>
                </c:pt>
                <c:pt idx="142">
                  <c:v>44</c:v>
                </c:pt>
                <c:pt idx="143">
                  <c:v>50</c:v>
                </c:pt>
                <c:pt idx="144">
                  <c:v>23</c:v>
                </c:pt>
                <c:pt idx="145">
                  <c:v>64</c:v>
                </c:pt>
                <c:pt idx="146">
                  <c:v>62</c:v>
                </c:pt>
                <c:pt idx="147">
                  <c:v>44</c:v>
                </c:pt>
                <c:pt idx="148">
                  <c:v>56</c:v>
                </c:pt>
                <c:pt idx="149">
                  <c:v>84</c:v>
                </c:pt>
                <c:pt idx="150">
                  <c:v>48</c:v>
                </c:pt>
                <c:pt idx="151">
                  <c:v>31</c:v>
                </c:pt>
                <c:pt idx="152">
                  <c:v>63</c:v>
                </c:pt>
                <c:pt idx="153">
                  <c:v>69</c:v>
                </c:pt>
                <c:pt idx="154">
                  <c:v>39</c:v>
                </c:pt>
                <c:pt idx="155">
                  <c:v>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C7-4733-952F-D247528AD3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8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5348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1506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4891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5533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368077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57205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389165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330937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884498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83032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309397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017834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6409036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841529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4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99851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4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084567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8844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89344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66172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51231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82131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91496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3195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svg"/><Relationship Id="rId5" Type="http://schemas.openxmlformats.org/officeDocument/2006/relationships/image" Target="../media/image13.pn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8.11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298858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8.11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79045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8.11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467086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8.11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249992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8.11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05233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8.11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7909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8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6871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8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26330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2921412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0347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07777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15433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1028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6814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08205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92066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115318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54070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831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520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8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13921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8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2318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8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375455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63" r:id="rId3"/>
    <p:sldLayoutId id="2147483661" r:id="rId4"/>
    <p:sldLayoutId id="2147483665" r:id="rId5"/>
    <p:sldLayoutId id="2147483672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28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59173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520971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chart" Target="../charts/chart9.xml"/><Relationship Id="rId4" Type="http://schemas.openxmlformats.org/officeDocument/2006/relationships/tags" Target="../tags/tag5.xml"/><Relationship Id="rId9" Type="http://schemas.openxmlformats.org/officeDocument/2006/relationships/notesSlide" Target="../notesSlides/notesSlide2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chart" Target="../charts/chart10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chart" Target="../charts/chart11.xml"/><Relationship Id="rId4" Type="http://schemas.openxmlformats.org/officeDocument/2006/relationships/tags" Target="../tags/tag14.xml"/><Relationship Id="rId9" Type="http://schemas.openxmlformats.org/officeDocument/2006/relationships/notesSlide" Target="../notesSlides/notesSlide2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chart" Target="../charts/chart1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10" Type="http://schemas.openxmlformats.org/officeDocument/2006/relationships/chart" Target="../charts/chart13.xml"/><Relationship Id="rId4" Type="http://schemas.openxmlformats.org/officeDocument/2006/relationships/tags" Target="../tags/tag23.xml"/><Relationship Id="rId9" Type="http://schemas.openxmlformats.org/officeDocument/2006/relationships/notesSlide" Target="../notesSlides/notesSlide2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4" Type="http://schemas.openxmlformats.org/officeDocument/2006/relationships/chart" Target="../charts/chart14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10" Type="http://schemas.openxmlformats.org/officeDocument/2006/relationships/chart" Target="../charts/chart15.xml"/><Relationship Id="rId4" Type="http://schemas.openxmlformats.org/officeDocument/2006/relationships/tags" Target="../tags/tag32.xml"/><Relationship Id="rId9" Type="http://schemas.openxmlformats.org/officeDocument/2006/relationships/notesSlide" Target="../notesSlides/notesSlide2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8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38.xml"/><Relationship Id="rId7" Type="http://schemas.openxmlformats.org/officeDocument/2006/relationships/image" Target="../media/image15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openxmlformats.org/officeDocument/2006/relationships/chart" Target="../charts/chart1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s/_rels/slide3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45.xml"/><Relationship Id="rId7" Type="http://schemas.openxmlformats.org/officeDocument/2006/relationships/image" Target="../media/image15.pn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47.xml"/><Relationship Id="rId4" Type="http://schemas.openxmlformats.org/officeDocument/2006/relationships/tags" Target="../tags/tag46.xml"/><Relationship Id="rId9" Type="http://schemas.openxmlformats.org/officeDocument/2006/relationships/chart" Target="../charts/chart1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9.xml"/><Relationship Id="rId1" Type="http://schemas.openxmlformats.org/officeDocument/2006/relationships/tags" Target="../tags/tag48.xml"/></Relationships>
</file>

<file path=ppt/slides/_rels/slide3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52.xml"/><Relationship Id="rId7" Type="http://schemas.openxmlformats.org/officeDocument/2006/relationships/image" Target="../media/image15.pn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54.xml"/><Relationship Id="rId4" Type="http://schemas.openxmlformats.org/officeDocument/2006/relationships/tags" Target="../tags/tag53.xml"/><Relationship Id="rId9" Type="http://schemas.openxmlformats.org/officeDocument/2006/relationships/chart" Target="../charts/chart1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56.xml"/><Relationship Id="rId1" Type="http://schemas.openxmlformats.org/officeDocument/2006/relationships/tags" Target="../tags/tag55.xml"/></Relationships>
</file>

<file path=ppt/slides/_rels/slide3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59.xml"/><Relationship Id="rId7" Type="http://schemas.openxmlformats.org/officeDocument/2006/relationships/image" Target="../media/image15.pn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61.xml"/><Relationship Id="rId4" Type="http://schemas.openxmlformats.org/officeDocument/2006/relationships/tags" Target="../tags/tag60.xml"/><Relationship Id="rId9" Type="http://schemas.openxmlformats.org/officeDocument/2006/relationships/chart" Target="../charts/char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63.xml"/><Relationship Id="rId1" Type="http://schemas.openxmlformats.org/officeDocument/2006/relationships/tags" Target="../tags/tag6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4" Type="http://schemas.openxmlformats.org/officeDocument/2006/relationships/chart" Target="../charts/chart2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dravotničtí pracovníci: souhrnný přehled stavu očkování a zátěže COVID-19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11904359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69149" y="1996486"/>
            <a:ext cx="1185370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soká úroveň proočkovanosti je patrná u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akutní lůžkové péči a v záchranné zdravotnické službě: lékaři 87 % a sestry 82 %. Přesto </a:t>
            </a:r>
            <a:r>
              <a:rPr lang="cs-CZ" sz="3200" b="1" dirty="0">
                <a:latin typeface="Arial" panose="020B0604020202020204"/>
              </a:rPr>
              <a:t>i v této kategorii existuje prostor k posílení očkování, zejména v některých moravských regionech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5390575" y="4652888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9095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zdravotníci v nemocnicích akutní lůžkové péče a ZZS</a:t>
            </a: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95B21923-74CC-4971-8ACF-75603B949F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28993849"/>
              </p:ext>
            </p:extLst>
          </p:nvPr>
        </p:nvGraphicFramePr>
        <p:xfrm>
          <a:off x="10136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7">
            <a:extLst>
              <a:ext uri="{FF2B5EF4-FFF2-40B4-BE49-F238E27FC236}">
                <a16:creationId xmlns:a16="http://schemas.microsoft.com/office/drawing/2014/main" id="{859ED9E0-6A53-405A-BD02-85A115DFB578}"/>
              </a:ext>
            </a:extLst>
          </p:cNvPr>
          <p:cNvSpPr txBox="1"/>
          <p:nvPr/>
        </p:nvSpPr>
        <p:spPr>
          <a:xfrm>
            <a:off x="1653004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8DE006A4-47CC-483A-94C2-37A91796F0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9823244"/>
              </p:ext>
            </p:extLst>
          </p:nvPr>
        </p:nvGraphicFramePr>
        <p:xfrm>
          <a:off x="5070251" y="1245141"/>
          <a:ext cx="1013589" cy="5010075"/>
        </p:xfrm>
        <a:graphic>
          <a:graphicData uri="http://schemas.openxmlformats.org/drawingml/2006/table">
            <a:tbl>
              <a:tblPr/>
              <a:tblGrid>
                <a:gridCol w="1013589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8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354140"/>
            <a:ext cx="810516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F1F59839-6B54-4C6A-814C-0F7D2FA4596F}"/>
              </a:ext>
            </a:extLst>
          </p:cNvPr>
          <p:cNvSpPr txBox="1"/>
          <p:nvPr/>
        </p:nvSpPr>
        <p:spPr>
          <a:xfrm>
            <a:off x="267310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Lékaři </a:t>
            </a:r>
            <a:r>
              <a:rPr lang="cs-CZ" sz="1400" dirty="0"/>
              <a:t>(včetně zubních lékařů)</a:t>
            </a:r>
            <a:endParaRPr lang="cs-CZ" dirty="0"/>
          </a:p>
        </p:txBody>
      </p:sp>
      <p:graphicFrame>
        <p:nvGraphicFramePr>
          <p:cNvPr id="15" name="Chart 6">
            <a:extLst>
              <a:ext uri="{FF2B5EF4-FFF2-40B4-BE49-F238E27FC236}">
                <a16:creationId xmlns:a16="http://schemas.microsoft.com/office/drawing/2014/main" id="{04728811-3D14-4440-A95A-65B5E4851A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37016674"/>
              </p:ext>
            </p:extLst>
          </p:nvPr>
        </p:nvGraphicFramePr>
        <p:xfrm>
          <a:off x="6185074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TextBox 7">
            <a:extLst>
              <a:ext uri="{FF2B5EF4-FFF2-40B4-BE49-F238E27FC236}">
                <a16:creationId xmlns:a16="http://schemas.microsoft.com/office/drawing/2014/main" id="{68CBEAFC-AB11-4E0B-8467-5B7AAE3834DA}"/>
              </a:ext>
            </a:extLst>
          </p:cNvPr>
          <p:cNvSpPr txBox="1"/>
          <p:nvPr/>
        </p:nvSpPr>
        <p:spPr>
          <a:xfrm>
            <a:off x="7827942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8E50632-3864-418D-91C6-3A9FEBF812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8882568"/>
              </p:ext>
            </p:extLst>
          </p:nvPr>
        </p:nvGraphicFramePr>
        <p:xfrm>
          <a:off x="11181969" y="1244893"/>
          <a:ext cx="950976" cy="5010075"/>
        </p:xfrm>
        <a:graphic>
          <a:graphicData uri="http://schemas.openxmlformats.org/drawingml/2006/table">
            <a:tbl>
              <a:tblPr/>
              <a:tblGrid>
                <a:gridCol w="950976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6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8" name="TextBox 7">
            <a:extLst>
              <a:ext uri="{FF2B5EF4-FFF2-40B4-BE49-F238E27FC236}">
                <a16:creationId xmlns:a16="http://schemas.microsoft.com/office/drawing/2014/main" id="{0A250D1E-21AE-452B-8E14-DA72C406298D}"/>
              </a:ext>
            </a:extLst>
          </p:cNvPr>
          <p:cNvSpPr txBox="1"/>
          <p:nvPr/>
        </p:nvSpPr>
        <p:spPr>
          <a:xfrm>
            <a:off x="6442248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Sestry*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FD5F7F0-9879-44F5-8A51-0926E63C659F}"/>
              </a:ext>
            </a:extLst>
          </p:cNvPr>
          <p:cNvSpPr/>
          <p:nvPr/>
        </p:nvSpPr>
        <p:spPr>
          <a:xfrm>
            <a:off x="8410574" y="6354140"/>
            <a:ext cx="342900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/>
              <a:t>*Sestry</a:t>
            </a:r>
            <a:r>
              <a:rPr lang="cs-CZ" sz="1100" dirty="0"/>
              <a:t> - § 5 Všeobecná sestra, § 5a Dětská sestra, § 6 Porodní asistentka, § 21b Praktická sestra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5427835" y="596549"/>
            <a:ext cx="2009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400" b="1" dirty="0"/>
              <a:t>Stav k 25. 11. 2021 </a:t>
            </a:r>
          </a:p>
        </p:txBody>
      </p:sp>
    </p:spTree>
    <p:extLst>
      <p:ext uri="{BB962C8B-B14F-4D97-AF65-F5344CB8AC3E}">
        <p14:creationId xmlns:p14="http://schemas.microsoft.com/office/powerpoint/2010/main" val="29716961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52450" y="833301"/>
            <a:ext cx="1103947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 skupinami zdravotnických pracovníků je nejnižší proočkovanost u nelékařských zdravotnických pracovníků, která dosahuje 79 %.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73256" y="3241554"/>
            <a:ext cx="1185370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př. profese sanitáře a fyzioterapeuta patřila mezi nejčastěji nakažené, jak dokládají reprezentativní data. Přitom jde o pracovníky s velkým počtem kontaktů ve zdravotnických zařízeních. Posílení očkování i u těchto zdravotnických profesí je potřebné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289224" y="602469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289224" y="256834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3300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-10 / 2021 k 25. 11.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0553929A-22E7-4A3C-B2A6-F2301789E83D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25. 11. 2021</a:t>
            </a:r>
          </a:p>
        </p:txBody>
      </p:sp>
    </p:spTree>
    <p:extLst>
      <p:ext uri="{BB962C8B-B14F-4D97-AF65-F5344CB8AC3E}">
        <p14:creationId xmlns:p14="http://schemas.microsoft.com/office/powerpoint/2010/main" val="7711338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10-11 / 2021 k 25. 11.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25. 11. 2021</a:t>
            </a:r>
          </a:p>
        </p:txBody>
      </p:sp>
    </p:spTree>
    <p:extLst>
      <p:ext uri="{BB962C8B-B14F-4D97-AF65-F5344CB8AC3E}">
        <p14:creationId xmlns:p14="http://schemas.microsoft.com/office/powerpoint/2010/main" val="5003874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5. 11. 2021 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6340531"/>
              </p:ext>
            </p:extLst>
          </p:nvPr>
        </p:nvGraphicFramePr>
        <p:xfrm>
          <a:off x="356585" y="1390933"/>
          <a:ext cx="11273440" cy="42738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67965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68436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sz="1600" dirty="0"/>
                        <a:t>evidovaní v NZIS**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čet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díl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5223301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3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4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55133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17754198"/>
                  </a:ext>
                </a:extLst>
              </a:tr>
              <a:tr h="5221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5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8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30714590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1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8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</a:tbl>
          </a:graphicData>
        </a:graphic>
      </p:graphicFrame>
      <p:sp>
        <p:nvSpPr>
          <p:cNvPr id="11" name="Obdélník 10">
            <a:extLst>
              <a:ext uri="{FF2B5EF4-FFF2-40B4-BE49-F238E27FC236}">
                <a16:creationId xmlns:a16="http://schemas.microsoft.com/office/drawing/2014/main" id="{6BEBD7D0-42BD-498C-808F-66E0FCBEB10D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4358378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34D4860-845C-469C-96B2-FA53381D4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46950"/>
              </p:ext>
            </p:extLst>
          </p:nvPr>
        </p:nvGraphicFramePr>
        <p:xfrm>
          <a:off x="1933575" y="1439069"/>
          <a:ext cx="9955533" cy="4698660"/>
        </p:xfrm>
        <a:graphic>
          <a:graphicData uri="http://schemas.openxmlformats.org/drawingml/2006/table">
            <a:tbl>
              <a:tblPr/>
              <a:tblGrid>
                <a:gridCol w="1422219">
                  <a:extLst>
                    <a:ext uri="{9D8B030D-6E8A-4147-A177-3AD203B41FA5}">
                      <a16:colId xmlns:a16="http://schemas.microsoft.com/office/drawing/2014/main" val="694406104"/>
                    </a:ext>
                  </a:extLst>
                </a:gridCol>
                <a:gridCol w="1422219">
                  <a:extLst>
                    <a:ext uri="{9D8B030D-6E8A-4147-A177-3AD203B41FA5}">
                      <a16:colId xmlns:a16="http://schemas.microsoft.com/office/drawing/2014/main" val="266251048"/>
                    </a:ext>
                  </a:extLst>
                </a:gridCol>
                <a:gridCol w="1422219">
                  <a:extLst>
                    <a:ext uri="{9D8B030D-6E8A-4147-A177-3AD203B41FA5}">
                      <a16:colId xmlns:a16="http://schemas.microsoft.com/office/drawing/2014/main" val="141057638"/>
                    </a:ext>
                  </a:extLst>
                </a:gridCol>
                <a:gridCol w="1422219">
                  <a:extLst>
                    <a:ext uri="{9D8B030D-6E8A-4147-A177-3AD203B41FA5}">
                      <a16:colId xmlns:a16="http://schemas.microsoft.com/office/drawing/2014/main" val="1603776872"/>
                    </a:ext>
                  </a:extLst>
                </a:gridCol>
                <a:gridCol w="1422219">
                  <a:extLst>
                    <a:ext uri="{9D8B030D-6E8A-4147-A177-3AD203B41FA5}">
                      <a16:colId xmlns:a16="http://schemas.microsoft.com/office/drawing/2014/main" val="3234008553"/>
                    </a:ext>
                  </a:extLst>
                </a:gridCol>
                <a:gridCol w="1422219">
                  <a:extLst>
                    <a:ext uri="{9D8B030D-6E8A-4147-A177-3AD203B41FA5}">
                      <a16:colId xmlns:a16="http://schemas.microsoft.com/office/drawing/2014/main" val="1310924060"/>
                    </a:ext>
                  </a:extLst>
                </a:gridCol>
                <a:gridCol w="1422219">
                  <a:extLst>
                    <a:ext uri="{9D8B030D-6E8A-4147-A177-3AD203B41FA5}">
                      <a16:colId xmlns:a16="http://schemas.microsoft.com/office/drawing/2014/main" val="3839565265"/>
                    </a:ext>
                  </a:extLst>
                </a:gridCol>
              </a:tblGrid>
              <a:tr h="313244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9C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7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7B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8C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AC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BD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1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2209582"/>
                  </a:ext>
                </a:extLst>
              </a:tr>
              <a:tr h="313244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DA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6C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3D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9E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FD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B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58189"/>
                  </a:ext>
                </a:extLst>
              </a:tr>
              <a:tr h="313244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7A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CB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3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3C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7B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1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3033618"/>
                  </a:ext>
                </a:extLst>
              </a:tr>
              <a:tr h="313244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F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6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7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6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3D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B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E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442666"/>
                  </a:ext>
                </a:extLst>
              </a:tr>
              <a:tr h="313244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E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C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9A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1D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B9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7B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6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3979059"/>
                  </a:ext>
                </a:extLst>
              </a:tr>
              <a:tr h="313244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3C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8C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2E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BA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2D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FD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5187894"/>
                  </a:ext>
                </a:extLst>
              </a:tr>
              <a:tr h="313244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5A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19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B0B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8E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0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DD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0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1376089"/>
                  </a:ext>
                </a:extLst>
              </a:tr>
              <a:tr h="313244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6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EB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EB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6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C9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2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8578707"/>
                  </a:ext>
                </a:extLst>
              </a:tr>
              <a:tr h="313244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0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A8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A9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EC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19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39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9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3205716"/>
                  </a:ext>
                </a:extLst>
              </a:tr>
              <a:tr h="313244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9E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8B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5C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5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1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2A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3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3717957"/>
                  </a:ext>
                </a:extLst>
              </a:tr>
              <a:tr h="313244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C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89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CA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AA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7B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9B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B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020348"/>
                  </a:ext>
                </a:extLst>
              </a:tr>
              <a:tr h="313244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ED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58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6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D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78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29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1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5975213"/>
                  </a:ext>
                </a:extLst>
              </a:tr>
              <a:tr h="313244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ED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8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78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58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A8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78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F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4996378"/>
                  </a:ext>
                </a:extLst>
              </a:tr>
              <a:tr h="313244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0C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78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1A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9C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1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0A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6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4670390"/>
                  </a:ext>
                </a:extLst>
              </a:tr>
              <a:tr h="313244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5C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2A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3B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FD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AA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AB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B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0906456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NLZP v nemocnicích akutní lůžkové péče a ZZS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401765"/>
            <a:ext cx="1175324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pPr algn="ctr"/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297312" y="614100"/>
            <a:ext cx="19696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5. 11. 2021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02BA253-3FCF-4619-85EA-CE8807BFEB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9617544"/>
              </p:ext>
            </p:extLst>
          </p:nvPr>
        </p:nvGraphicFramePr>
        <p:xfrm>
          <a:off x="302889" y="921878"/>
          <a:ext cx="11586222" cy="5215857"/>
        </p:xfrm>
        <a:graphic>
          <a:graphicData uri="http://schemas.openxmlformats.org/drawingml/2006/table">
            <a:tbl>
              <a:tblPr/>
              <a:tblGrid>
                <a:gridCol w="1640944">
                  <a:extLst>
                    <a:ext uri="{9D8B030D-6E8A-4147-A177-3AD203B41FA5}">
                      <a16:colId xmlns:a16="http://schemas.microsoft.com/office/drawing/2014/main" val="974880782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441195149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3499224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0480325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85756655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038756237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34387120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3794948740"/>
                    </a:ext>
                  </a:extLst>
                </a:gridCol>
              </a:tblGrid>
              <a:tr h="499992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6522" marT="652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rmaceuti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armaceut, § 19 Farmaceutický asistent)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36 Ošetřovatel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42 Sanit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18 Zdravotnický záchran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24 Fyzioterapeut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oratorní pracovníci *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NLZP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8253265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5 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4 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72 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0 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1 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51 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1 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952797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 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00 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4 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 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4 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6 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26160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 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 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2 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 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9404468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1 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 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1 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 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5881402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7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 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 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0782105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 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 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28 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 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 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 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2802116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 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6 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7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 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742844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2 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 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(7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4 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 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0309455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7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4 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 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 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 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1198027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4 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 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 (7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 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3674140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4 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85 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 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1 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2 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1 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339702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7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0 (7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 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7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2 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 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93671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7 (7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 (7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7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8 (7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7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90746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 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5 (7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1 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 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 (7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2 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0 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10140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96 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34 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639 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62 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37 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10 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92 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49192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EE8DF9DD-84CF-4A37-A410-0264FC601949}"/>
              </a:ext>
            </a:extLst>
          </p:cNvPr>
          <p:cNvSpPr/>
          <p:nvPr/>
        </p:nvSpPr>
        <p:spPr>
          <a:xfrm>
            <a:off x="1476376" y="6151138"/>
            <a:ext cx="1054448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§ 8 Radiologický asistent, § 9 Zdravotní laborant, § 26 Odborný pracovník v laboratorních metodách a v přípravě léčivých přípravků, § 30 Laboratorní asistent, § 41 Autoptický laborant</a:t>
            </a:r>
            <a:endParaRPr lang="cs-CZ" sz="1000" dirty="0"/>
          </a:p>
        </p:txBody>
      </p:sp>
    </p:spTree>
    <p:extLst>
      <p:ext uri="{BB962C8B-B14F-4D97-AF65-F5344CB8AC3E}">
        <p14:creationId xmlns:p14="http://schemas.microsoft.com/office/powerpoint/2010/main" val="34429434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C21514D-0678-4629-BA23-0E8A0F4F41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9502726"/>
              </p:ext>
            </p:extLst>
          </p:nvPr>
        </p:nvGraphicFramePr>
        <p:xfrm>
          <a:off x="2633357" y="1286668"/>
          <a:ext cx="9310995" cy="4726072"/>
        </p:xfrm>
        <a:graphic>
          <a:graphicData uri="http://schemas.openxmlformats.org/drawingml/2006/table">
            <a:tbl>
              <a:tblPr/>
              <a:tblGrid>
                <a:gridCol w="620733">
                  <a:extLst>
                    <a:ext uri="{9D8B030D-6E8A-4147-A177-3AD203B41FA5}">
                      <a16:colId xmlns:a16="http://schemas.microsoft.com/office/drawing/2014/main" val="3459737291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829208539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294817410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86686424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806230993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548402946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098314986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209107751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504444760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506617590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927360019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993399532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493446265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212647797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015916283"/>
                    </a:ext>
                  </a:extLst>
                </a:gridCol>
              </a:tblGrid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4662323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1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9142277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A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A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1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374270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3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1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37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4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4879044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6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3109067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6C4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7292682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4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612328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C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6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2421441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637610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4545662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2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4418299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3445402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4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D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8332739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lékaři* podle typu zdravotnického zařízení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5. 11. 2021 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0057600"/>
              </p:ext>
            </p:extLst>
          </p:nvPr>
        </p:nvGraphicFramePr>
        <p:xfrm>
          <a:off x="192538" y="770856"/>
          <a:ext cx="11751815" cy="5241880"/>
        </p:xfrm>
        <a:graphic>
          <a:graphicData uri="http://schemas.openxmlformats.org/drawingml/2006/table">
            <a:tbl>
              <a:tblPr/>
              <a:tblGrid>
                <a:gridCol w="2438405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3639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3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3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Lékaři včetně zubních lékařů; jedna osoba může pracovat ve více krají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 (viz příloha)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2148492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A5220881-17A2-4FD9-8637-8F8B7F7EDE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9104517"/>
              </p:ext>
            </p:extLst>
          </p:nvPr>
        </p:nvGraphicFramePr>
        <p:xfrm>
          <a:off x="2623832" y="1277144"/>
          <a:ext cx="9320520" cy="4735588"/>
        </p:xfrm>
        <a:graphic>
          <a:graphicData uri="http://schemas.openxmlformats.org/drawingml/2006/table">
            <a:tbl>
              <a:tblPr/>
              <a:tblGrid>
                <a:gridCol w="621368">
                  <a:extLst>
                    <a:ext uri="{9D8B030D-6E8A-4147-A177-3AD203B41FA5}">
                      <a16:colId xmlns:a16="http://schemas.microsoft.com/office/drawing/2014/main" val="2751823851"/>
                    </a:ext>
                  </a:extLst>
                </a:gridCol>
                <a:gridCol w="621368">
                  <a:extLst>
                    <a:ext uri="{9D8B030D-6E8A-4147-A177-3AD203B41FA5}">
                      <a16:colId xmlns:a16="http://schemas.microsoft.com/office/drawing/2014/main" val="304163757"/>
                    </a:ext>
                  </a:extLst>
                </a:gridCol>
                <a:gridCol w="621368">
                  <a:extLst>
                    <a:ext uri="{9D8B030D-6E8A-4147-A177-3AD203B41FA5}">
                      <a16:colId xmlns:a16="http://schemas.microsoft.com/office/drawing/2014/main" val="2384811643"/>
                    </a:ext>
                  </a:extLst>
                </a:gridCol>
                <a:gridCol w="621368">
                  <a:extLst>
                    <a:ext uri="{9D8B030D-6E8A-4147-A177-3AD203B41FA5}">
                      <a16:colId xmlns:a16="http://schemas.microsoft.com/office/drawing/2014/main" val="3423976184"/>
                    </a:ext>
                  </a:extLst>
                </a:gridCol>
                <a:gridCol w="621368">
                  <a:extLst>
                    <a:ext uri="{9D8B030D-6E8A-4147-A177-3AD203B41FA5}">
                      <a16:colId xmlns:a16="http://schemas.microsoft.com/office/drawing/2014/main" val="1335529186"/>
                    </a:ext>
                  </a:extLst>
                </a:gridCol>
                <a:gridCol w="621368">
                  <a:extLst>
                    <a:ext uri="{9D8B030D-6E8A-4147-A177-3AD203B41FA5}">
                      <a16:colId xmlns:a16="http://schemas.microsoft.com/office/drawing/2014/main" val="1319982406"/>
                    </a:ext>
                  </a:extLst>
                </a:gridCol>
                <a:gridCol w="621368">
                  <a:extLst>
                    <a:ext uri="{9D8B030D-6E8A-4147-A177-3AD203B41FA5}">
                      <a16:colId xmlns:a16="http://schemas.microsoft.com/office/drawing/2014/main" val="1691026754"/>
                    </a:ext>
                  </a:extLst>
                </a:gridCol>
                <a:gridCol w="621368">
                  <a:extLst>
                    <a:ext uri="{9D8B030D-6E8A-4147-A177-3AD203B41FA5}">
                      <a16:colId xmlns:a16="http://schemas.microsoft.com/office/drawing/2014/main" val="1809550238"/>
                    </a:ext>
                  </a:extLst>
                </a:gridCol>
                <a:gridCol w="621368">
                  <a:extLst>
                    <a:ext uri="{9D8B030D-6E8A-4147-A177-3AD203B41FA5}">
                      <a16:colId xmlns:a16="http://schemas.microsoft.com/office/drawing/2014/main" val="2296262535"/>
                    </a:ext>
                  </a:extLst>
                </a:gridCol>
                <a:gridCol w="621368">
                  <a:extLst>
                    <a:ext uri="{9D8B030D-6E8A-4147-A177-3AD203B41FA5}">
                      <a16:colId xmlns:a16="http://schemas.microsoft.com/office/drawing/2014/main" val="443468593"/>
                    </a:ext>
                  </a:extLst>
                </a:gridCol>
                <a:gridCol w="621368">
                  <a:extLst>
                    <a:ext uri="{9D8B030D-6E8A-4147-A177-3AD203B41FA5}">
                      <a16:colId xmlns:a16="http://schemas.microsoft.com/office/drawing/2014/main" val="789711414"/>
                    </a:ext>
                  </a:extLst>
                </a:gridCol>
                <a:gridCol w="621368">
                  <a:extLst>
                    <a:ext uri="{9D8B030D-6E8A-4147-A177-3AD203B41FA5}">
                      <a16:colId xmlns:a16="http://schemas.microsoft.com/office/drawing/2014/main" val="3850362103"/>
                    </a:ext>
                  </a:extLst>
                </a:gridCol>
                <a:gridCol w="621368">
                  <a:extLst>
                    <a:ext uri="{9D8B030D-6E8A-4147-A177-3AD203B41FA5}">
                      <a16:colId xmlns:a16="http://schemas.microsoft.com/office/drawing/2014/main" val="853967463"/>
                    </a:ext>
                  </a:extLst>
                </a:gridCol>
                <a:gridCol w="621368">
                  <a:extLst>
                    <a:ext uri="{9D8B030D-6E8A-4147-A177-3AD203B41FA5}">
                      <a16:colId xmlns:a16="http://schemas.microsoft.com/office/drawing/2014/main" val="694644380"/>
                    </a:ext>
                  </a:extLst>
                </a:gridCol>
                <a:gridCol w="621368">
                  <a:extLst>
                    <a:ext uri="{9D8B030D-6E8A-4147-A177-3AD203B41FA5}">
                      <a16:colId xmlns:a16="http://schemas.microsoft.com/office/drawing/2014/main" val="4041205715"/>
                    </a:ext>
                  </a:extLst>
                </a:gridCol>
              </a:tblGrid>
              <a:tr h="36427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2215917"/>
                  </a:ext>
                </a:extLst>
              </a:tr>
              <a:tr h="36427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0430031"/>
                  </a:ext>
                </a:extLst>
              </a:tr>
              <a:tr h="36427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C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057302"/>
                  </a:ext>
                </a:extLst>
              </a:tr>
              <a:tr h="36427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B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2392000"/>
                  </a:ext>
                </a:extLst>
              </a:tr>
              <a:tr h="36427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C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6511174"/>
                  </a:ext>
                </a:extLst>
              </a:tr>
              <a:tr h="36427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140826"/>
                  </a:ext>
                </a:extLst>
              </a:tr>
              <a:tr h="36427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1675012"/>
                  </a:ext>
                </a:extLst>
              </a:tr>
              <a:tr h="36427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7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3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7387144"/>
                  </a:ext>
                </a:extLst>
              </a:tr>
              <a:tr h="36427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7292330"/>
                  </a:ext>
                </a:extLst>
              </a:tr>
              <a:tr h="36427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9125332"/>
                  </a:ext>
                </a:extLst>
              </a:tr>
              <a:tr h="36427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5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4265547"/>
                  </a:ext>
                </a:extLst>
              </a:tr>
              <a:tr h="36427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C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278205"/>
                  </a:ext>
                </a:extLst>
              </a:tr>
              <a:tr h="36427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7C9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5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8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8689764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é sestry* podle typu zdravotnického zařízení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0990331"/>
              </p:ext>
            </p:extLst>
          </p:nvPr>
        </p:nvGraphicFramePr>
        <p:xfrm>
          <a:off x="192538" y="770856"/>
          <a:ext cx="11751815" cy="5241880"/>
        </p:xfrm>
        <a:graphic>
          <a:graphicData uri="http://schemas.openxmlformats.org/drawingml/2006/table">
            <a:tbl>
              <a:tblPr/>
              <a:tblGrid>
                <a:gridCol w="2438405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3639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1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8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9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0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5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3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§ 5 Všeobecná sestra, § 5a Dětská sestra, § 6 Porodní asistentka, § 21b Praktická sestra; jedna osoba může pracovat ve více krajích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 (viz příloha)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7D8455FB-AA19-461A-A8C9-7539A364F2DC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5. 11. 2021 </a:t>
            </a:r>
          </a:p>
        </p:txBody>
      </p:sp>
    </p:spTree>
    <p:extLst>
      <p:ext uri="{BB962C8B-B14F-4D97-AF65-F5344CB8AC3E}">
        <p14:creationId xmlns:p14="http://schemas.microsoft.com/office/powerpoint/2010/main" val="34870923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3E3DD5F4-1C33-41E3-B4FF-2D6B3F854E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5873287"/>
              </p:ext>
            </p:extLst>
          </p:nvPr>
        </p:nvGraphicFramePr>
        <p:xfrm>
          <a:off x="2633357" y="1286668"/>
          <a:ext cx="9310995" cy="4726072"/>
        </p:xfrm>
        <a:graphic>
          <a:graphicData uri="http://schemas.openxmlformats.org/drawingml/2006/table">
            <a:tbl>
              <a:tblPr/>
              <a:tblGrid>
                <a:gridCol w="620733">
                  <a:extLst>
                    <a:ext uri="{9D8B030D-6E8A-4147-A177-3AD203B41FA5}">
                      <a16:colId xmlns:a16="http://schemas.microsoft.com/office/drawing/2014/main" val="2047804118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133059304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708647869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853221687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4186904234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844989287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812314683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562312150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562882295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0494534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796894565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791549603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291843247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374106018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220616921"/>
                    </a:ext>
                  </a:extLst>
                </a:gridCol>
              </a:tblGrid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2340772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C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88553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1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9201647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37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76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1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2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2898939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E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4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6706706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1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1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7213711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0294438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E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1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1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4524740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2325072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3732465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356579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6224413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0097863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ostatní ZP* podle typu zdravotnického zařízení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070607"/>
              </p:ext>
            </p:extLst>
          </p:nvPr>
        </p:nvGraphicFramePr>
        <p:xfrm>
          <a:off x="192538" y="770856"/>
          <a:ext cx="11751815" cy="5241880"/>
        </p:xfrm>
        <a:graphic>
          <a:graphicData uri="http://schemas.openxmlformats.org/drawingml/2006/table">
            <a:tbl>
              <a:tblPr/>
              <a:tblGrid>
                <a:gridCol w="2438405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4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7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0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5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5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6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92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NLZP § 7 až § 42 kromě § 21b, farmaceuti; jedna osoba může pracovat ve více krajích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 (viz příloha)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8BE7577-D0D0-4CAF-8960-5C7A9603C643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5. 11. 2021 </a:t>
            </a:r>
          </a:p>
        </p:txBody>
      </p:sp>
    </p:spTree>
    <p:extLst>
      <p:ext uri="{BB962C8B-B14F-4D97-AF65-F5344CB8AC3E}">
        <p14:creationId xmlns:p14="http://schemas.microsoft.com/office/powerpoint/2010/main" val="28052786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4400" dirty="0">
                <a:solidFill>
                  <a:srgbClr val="000000"/>
                </a:solidFill>
              </a:rPr>
              <a:t>Přehled stavu očkování ZP </a:t>
            </a: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428029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oučasné nákazy a virová zátěž ZP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24292118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25. 11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142875" y="1119730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09675"/>
          <a:ext cx="4661411" cy="5209594"/>
        </p:xfrm>
        <a:graphic>
          <a:graphicData uri="http://schemas.openxmlformats.org/drawingml/2006/table">
            <a:tbl>
              <a:tblPr/>
              <a:tblGrid>
                <a:gridCol w="145311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544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02075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7280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denní klouzavý průměr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poslední den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6 (3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5 (4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8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1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3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1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9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3 (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3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5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5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5 (2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4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3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3 (3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4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6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4 (6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62 (18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67 (20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2 (44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cxnSp>
        <p:nvCxnSpPr>
          <p:cNvPr id="14" name="Straight Connector 4">
            <a:extLst>
              <a:ext uri="{FF2B5EF4-FFF2-40B4-BE49-F238E27FC236}">
                <a16:creationId xmlns:a16="http://schemas.microsoft.com/office/drawing/2014/main" id="{F5F70D9E-87A2-4BFA-BE04-CC7F4241D0B4}"/>
              </a:ext>
            </a:extLst>
          </p:cNvPr>
          <p:cNvCxnSpPr/>
          <p:nvPr/>
        </p:nvCxnSpPr>
        <p:spPr>
          <a:xfrm>
            <a:off x="5606765" y="1702345"/>
            <a:ext cx="21600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">
            <a:extLst>
              <a:ext uri="{FF2B5EF4-FFF2-40B4-BE49-F238E27FC236}">
                <a16:creationId xmlns:a16="http://schemas.microsoft.com/office/drawing/2014/main" id="{39CA3BBA-412B-4A3C-ADC1-DAF4B494D04F}"/>
              </a:ext>
            </a:extLst>
          </p:cNvPr>
          <p:cNvSpPr txBox="1"/>
          <p:nvPr/>
        </p:nvSpPr>
        <p:spPr>
          <a:xfrm>
            <a:off x="5789707" y="1533071"/>
            <a:ext cx="1341224" cy="5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7 denní klouzavý průměr</a:t>
            </a:r>
          </a:p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denní hodnoty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id="{49368D80-8513-4AF4-B12A-04F7F7E5994A}"/>
              </a:ext>
            </a:extLst>
          </p:cNvPr>
          <p:cNvCxnSpPr/>
          <p:nvPr/>
        </p:nvCxnSpPr>
        <p:spPr>
          <a:xfrm>
            <a:off x="5606765" y="1997620"/>
            <a:ext cx="21600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">
            <a:extLst>
              <a:ext uri="{FF2B5EF4-FFF2-40B4-BE49-F238E27FC236}">
                <a16:creationId xmlns:a16="http://schemas.microsoft.com/office/drawing/2014/main" id="{5F83CAAA-A3F3-4137-A444-807362C84989}"/>
              </a:ext>
            </a:extLst>
          </p:cNvPr>
          <p:cNvSpPr txBox="1"/>
          <p:nvPr/>
        </p:nvSpPr>
        <p:spPr>
          <a:xfrm>
            <a:off x="5492063" y="2212046"/>
            <a:ext cx="1341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>
                <a:latin typeface="Calibri" panose="020F0502020204030204" pitchFamily="34" charset="0"/>
                <a:cs typeface="Calibri" panose="020F0502020204030204" pitchFamily="34" charset="0"/>
              </a:rPr>
              <a:t>Poslední den:</a:t>
            </a:r>
          </a:p>
        </p:txBody>
      </p:sp>
    </p:spTree>
    <p:extLst>
      <p:ext uri="{BB962C8B-B14F-4D97-AF65-F5344CB8AC3E}">
        <p14:creationId xmlns:p14="http://schemas.microsoft.com/office/powerpoint/2010/main" val="2835947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4E2462CD-2C28-4222-9D6A-55BCDDF9CD02}"/>
              </a:ext>
            </a:extLst>
          </p:cNvPr>
          <p:cNvGraphicFramePr/>
          <p:nvPr/>
        </p:nvGraphicFramePr>
        <p:xfrm>
          <a:off x="142875" y="1083825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preval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25. 11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56231"/>
          <a:ext cx="4752977" cy="5154086"/>
        </p:xfrm>
        <a:graphic>
          <a:graphicData uri="http://schemas.openxmlformats.org/drawingml/2006/table">
            <a:tbl>
              <a:tblPr/>
              <a:tblGrid>
                <a:gridCol w="1456505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8466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8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5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5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9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381346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lékařů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A29735D-E67B-4582-988F-B716296F695C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2783236E-7848-4370-8C68-345D039C0ED3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10.–28. 10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10.–4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11.–11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11.–18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11.–25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70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4.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5.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6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241455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438411" cy="576000"/>
          </a:xfrm>
        </p:spPr>
        <p:txBody>
          <a:bodyPr/>
          <a:lstStyle/>
          <a:p>
            <a:r>
              <a:rPr lang="cs-CZ" dirty="0"/>
              <a:t>Počty COVID-19 pozitivních na 100 000 osob v populaci lékařů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757297"/>
            <a:ext cx="143810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lékařů (suma za hodnocený časový úsek)</a:t>
            </a:r>
          </a:p>
        </p:txBody>
      </p:sp>
    </p:spTree>
    <p:extLst>
      <p:ext uri="{BB962C8B-B14F-4D97-AF65-F5344CB8AC3E}">
        <p14:creationId xmlns:p14="http://schemas.microsoft.com/office/powerpoint/2010/main" val="5771561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sester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4" name="Přímá spojnice se šipkou 3">
            <a:extLst>
              <a:ext uri="{FF2B5EF4-FFF2-40B4-BE49-F238E27FC236}">
                <a16:creationId xmlns:a16="http://schemas.microsoft.com/office/drawing/2014/main" id="{6402FBAB-1696-47CF-97B3-031F1C769EF3}"/>
              </a:ext>
            </a:extLst>
          </p:cNvPr>
          <p:cNvCxnSpPr>
            <a:cxnSpLocks/>
          </p:cNvCxnSpPr>
          <p:nvPr/>
        </p:nvCxnSpPr>
        <p:spPr>
          <a:xfrm flipV="1">
            <a:off x="9700181" y="3271101"/>
            <a:ext cx="1781666" cy="14234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10.–28. 10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10.–4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11.–11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11.–18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11.–25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6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83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3.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9.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4.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911537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102694" cy="576000"/>
          </a:xfrm>
        </p:spPr>
        <p:txBody>
          <a:bodyPr/>
          <a:lstStyle/>
          <a:p>
            <a:r>
              <a:rPr lang="cs-CZ" dirty="0"/>
              <a:t>Počty COVID-19 pozitivních na 100 000 osob v populaci sester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49877" y="1757297"/>
            <a:ext cx="1392507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sester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8682F60F-46D8-48C4-9BAF-DC595C3B4A5C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0976072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ostatních ZP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4" name="Přímá spojnice se šipkou 3">
            <a:extLst>
              <a:ext uri="{FF2B5EF4-FFF2-40B4-BE49-F238E27FC236}">
                <a16:creationId xmlns:a16="http://schemas.microsoft.com/office/drawing/2014/main" id="{6402FBAB-1696-47CF-97B3-031F1C769EF3}"/>
              </a:ext>
            </a:extLst>
          </p:cNvPr>
          <p:cNvCxnSpPr>
            <a:cxnSpLocks/>
          </p:cNvCxnSpPr>
          <p:nvPr/>
        </p:nvCxnSpPr>
        <p:spPr>
          <a:xfrm flipV="1">
            <a:off x="9367674" y="3695972"/>
            <a:ext cx="1781666" cy="14234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10.–28. 10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10.–4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11.–11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11.–18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11.–25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82.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5.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8.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6.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59209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647961" cy="576000"/>
          </a:xfrm>
        </p:spPr>
        <p:txBody>
          <a:bodyPr/>
          <a:lstStyle/>
          <a:p>
            <a:r>
              <a:rPr lang="cs-CZ" dirty="0"/>
              <a:t>Počty COVID-19 pozitivních na 100 000 osob v populaci ostatních ZP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ostatních ZP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77767C90-51A5-48DE-BF7F-14E45D3CD23E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55750590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ZP CELKEM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4" name="Přímá spojnice se šipkou 3">
            <a:extLst>
              <a:ext uri="{FF2B5EF4-FFF2-40B4-BE49-F238E27FC236}">
                <a16:creationId xmlns:a16="http://schemas.microsoft.com/office/drawing/2014/main" id="{6402FBAB-1696-47CF-97B3-031F1C769EF3}"/>
              </a:ext>
            </a:extLst>
          </p:cNvPr>
          <p:cNvCxnSpPr>
            <a:cxnSpLocks/>
          </p:cNvCxnSpPr>
          <p:nvPr/>
        </p:nvCxnSpPr>
        <p:spPr>
          <a:xfrm flipV="1">
            <a:off x="9700181" y="3271101"/>
            <a:ext cx="1781666" cy="14234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3E2D82D-108B-4D73-94F6-FBD731C2D303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F11535AB-AF88-4B35-89FD-7232D9821B31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10.–28. 10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10.–4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11.–11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11.–18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11.–25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7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82.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8.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8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4.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45009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322440" y="1046604"/>
            <a:ext cx="1160170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aktuálně aktivně působících zdravotnických pracovníků má alespoň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dávku vakcinace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7 % lékařů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2 % sesterských povolání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9 % ostatních zdravotnických povolání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5554864" y="2902204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322440" y="3696653"/>
            <a:ext cx="11189401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očkovanost ZP během první poloviny listopadu mírně vzrostla, a to ve všech profesních skupinách. Celková proočkovanost ZP dosáhla 82,1% (jen ZP skutečně aktivní ve zdravotnictví)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513717" y="6070096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23333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6F9CDA9-EEAB-4566-94DD-783AB6AA840E}"/>
              </a:ext>
            </a:extLst>
          </p:cNvPr>
          <p:cNvGraphicFramePr>
            <a:graphicFrameLocks noGrp="1"/>
          </p:cNvGraphicFramePr>
          <p:nvPr/>
        </p:nvGraphicFramePr>
        <p:xfrm>
          <a:off x="2333625" y="2260664"/>
          <a:ext cx="9284988" cy="3621345"/>
        </p:xfrm>
        <a:graphic>
          <a:graphicData uri="http://schemas.openxmlformats.org/drawingml/2006/table">
            <a:tbl>
              <a:tblPr/>
              <a:tblGrid>
                <a:gridCol w="773749">
                  <a:extLst>
                    <a:ext uri="{9D8B030D-6E8A-4147-A177-3AD203B41FA5}">
                      <a16:colId xmlns:a16="http://schemas.microsoft.com/office/drawing/2014/main" val="264007633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4253112226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3793601955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1826662688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4025034842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4034205269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2209317356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2080623546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3461123131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1404630173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1845201469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3130514973"/>
                    </a:ext>
                  </a:extLst>
                </a:gridCol>
              </a:tblGrid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F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BA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8347660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B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9B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AB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4746604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E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B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0372039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9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5795905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4417384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B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6408931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9B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D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8201613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D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490991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B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E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C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20457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2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5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3B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7194450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1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7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D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071731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6F7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1231263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1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0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6D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778343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B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3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6A6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3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2475714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CA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A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A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1961469"/>
                  </a:ext>
                </a:extLst>
              </a:tr>
            </a:tbl>
          </a:graphicData>
        </a:graphic>
      </p:graphicFrame>
      <p:sp>
        <p:nvSpPr>
          <p:cNvPr id="10" name="TextovéPole 5">
            <a:extLst>
              <a:ext uri="{FF2B5EF4-FFF2-40B4-BE49-F238E27FC236}">
                <a16:creationId xmlns:a16="http://schemas.microsoft.com/office/drawing/2014/main" id="{E3A22678-EE0A-4F0C-80A0-91CC52509AD0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E238D39-7489-4465-AC4A-2E3C5F72A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145" y="2"/>
            <a:ext cx="7502895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1D66D047-1A81-43A9-AEC0-D36353A2C52D}"/>
              </a:ext>
            </a:extLst>
          </p:cNvPr>
          <p:cNvSpPr/>
          <p:nvPr/>
        </p:nvSpPr>
        <p:spPr>
          <a:xfrm>
            <a:off x="607274" y="64668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lang="cs-CZ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Aktuální počet COVID-19 pozitivních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25. 11. 2021 </a:t>
            </a:r>
            <a:endParaRPr lang="cs-CZ" sz="20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5E2859C-4D5B-4818-B563-9E4138B938E9}"/>
              </a:ext>
            </a:extLst>
          </p:cNvPr>
          <p:cNvGraphicFramePr>
            <a:graphicFrameLocks noGrp="1"/>
          </p:cNvGraphicFramePr>
          <p:nvPr/>
        </p:nvGraphicFramePr>
        <p:xfrm>
          <a:off x="672701" y="1101986"/>
          <a:ext cx="10945906" cy="4780030"/>
        </p:xfrm>
        <a:graphic>
          <a:graphicData uri="http://schemas.openxmlformats.org/drawingml/2006/table">
            <a:tbl>
              <a:tblPr/>
              <a:tblGrid>
                <a:gridCol w="167042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533895005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1606111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422552456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401237711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36622183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915136564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5601179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711815336"/>
                    </a:ext>
                  </a:extLst>
                </a:gridCol>
              </a:tblGrid>
              <a:tr h="553235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61470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1881938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9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C60E1484-55C4-4B6F-A638-3236D2A6D736}"/>
              </a:ext>
            </a:extLst>
          </p:cNvPr>
          <p:cNvSpPr txBox="1"/>
          <p:nvPr/>
        </p:nvSpPr>
        <p:spPr>
          <a:xfrm>
            <a:off x="2209088" y="5966151"/>
            <a:ext cx="97513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* Úvazky včetně smluvních pracovníků za rok 2019 podle statistických zjišťování MZ za rok 2019, v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ýkaz</a:t>
            </a:r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y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 E (MZ) 2-01, E (MZ) 3-01 a E (MZ) 4-01</a:t>
            </a:r>
            <a:endParaRPr lang="cs-CZ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D38389EE-F8C1-4AAD-BB2B-BF9F71F72F8C}"/>
              </a:ext>
            </a:extLst>
          </p:cNvPr>
          <p:cNvSpPr txBox="1"/>
          <p:nvPr/>
        </p:nvSpPr>
        <p:spPr>
          <a:xfrm>
            <a:off x="4911603" y="6276375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á škála vizualizuje rozsah hodnot v územích v rámci sledovaného ukazatele (sloupce)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1834C1AC-8D63-45D3-ADC1-6A054BF785C6}"/>
              </a:ext>
            </a:extLst>
          </p:cNvPr>
          <p:cNvGrpSpPr/>
          <p:nvPr/>
        </p:nvGrpSpPr>
        <p:grpSpPr>
          <a:xfrm>
            <a:off x="2768481" y="6338662"/>
            <a:ext cx="2143122" cy="171474"/>
            <a:chOff x="2185672" y="6586960"/>
            <a:chExt cx="2143122" cy="171474"/>
          </a:xfrm>
        </p:grpSpPr>
        <p:sp>
          <p:nvSpPr>
            <p:cNvPr id="22" name="TextovéPole 21">
              <a:extLst>
                <a:ext uri="{FF2B5EF4-FFF2-40B4-BE49-F238E27FC236}">
                  <a16:creationId xmlns:a16="http://schemas.microsoft.com/office/drawing/2014/main" id="{9B93F5A1-61AB-4ADF-8174-6F49ABD78FD6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24" name="Obrázek 23">
              <a:extLst>
                <a:ext uri="{FF2B5EF4-FFF2-40B4-BE49-F238E27FC236}">
                  <a16:creationId xmlns:a16="http://schemas.microsoft.com/office/drawing/2014/main" id="{A9AA69C9-AA2B-4055-9A8C-660DAE0AD6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4378140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D12DFCB2-2AF7-43E0-B5BE-BF008F0EB427}"/>
              </a:ext>
            </a:extLst>
          </p:cNvPr>
          <p:cNvGraphicFramePr>
            <a:graphicFrameLocks noGrp="1"/>
          </p:cNvGraphicFramePr>
          <p:nvPr/>
        </p:nvGraphicFramePr>
        <p:xfrm>
          <a:off x="3777712" y="1999780"/>
          <a:ext cx="7357456" cy="3993135"/>
        </p:xfrm>
        <a:graphic>
          <a:graphicData uri="http://schemas.openxmlformats.org/drawingml/2006/table">
            <a:tbl>
              <a:tblPr/>
              <a:tblGrid>
                <a:gridCol w="1839364">
                  <a:extLst>
                    <a:ext uri="{9D8B030D-6E8A-4147-A177-3AD203B41FA5}">
                      <a16:colId xmlns:a16="http://schemas.microsoft.com/office/drawing/2014/main" val="2198237918"/>
                    </a:ext>
                  </a:extLst>
                </a:gridCol>
                <a:gridCol w="1839364">
                  <a:extLst>
                    <a:ext uri="{9D8B030D-6E8A-4147-A177-3AD203B41FA5}">
                      <a16:colId xmlns:a16="http://schemas.microsoft.com/office/drawing/2014/main" val="2612293520"/>
                    </a:ext>
                  </a:extLst>
                </a:gridCol>
                <a:gridCol w="1839364">
                  <a:extLst>
                    <a:ext uri="{9D8B030D-6E8A-4147-A177-3AD203B41FA5}">
                      <a16:colId xmlns:a16="http://schemas.microsoft.com/office/drawing/2014/main" val="1666119345"/>
                    </a:ext>
                  </a:extLst>
                </a:gridCol>
                <a:gridCol w="1839364">
                  <a:extLst>
                    <a:ext uri="{9D8B030D-6E8A-4147-A177-3AD203B41FA5}">
                      <a16:colId xmlns:a16="http://schemas.microsoft.com/office/drawing/2014/main" val="4282297019"/>
                    </a:ext>
                  </a:extLst>
                </a:gridCol>
              </a:tblGrid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2902046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D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964971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9326614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1550189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4639898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081510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3858734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5919213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1565686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7497203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D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8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D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7436873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9B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CA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432625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352224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1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6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4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540723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089751"/>
                  </a:ext>
                </a:extLst>
              </a:tr>
            </a:tbl>
          </a:graphicData>
        </a:graphic>
      </p:graphicFrame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(ZP)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1093858" y="1238720"/>
          <a:ext cx="10041310" cy="4754200"/>
        </p:xfrm>
        <a:graphic>
          <a:graphicData uri="http://schemas.openxmlformats.org/drawingml/2006/table">
            <a:tbl>
              <a:tblPr/>
              <a:tblGrid>
                <a:gridCol w="269440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76394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Počet celkem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(*z toho v nemocnicích akutní lůžkové péče / ambulance PL, PLDD, PL gynekolog / ambulance zubního lékaře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(35 / 11 / 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 (110 / 14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 (67 / - / 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4 (212 / 25 / 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9 / 3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(36 / 8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24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 (69 / 12 / 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0 / 2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 (50 / 4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(21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 (81 / 6 / 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0 / 4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19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(2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 (50 / 6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-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3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3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6 / 4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3 / 3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6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28 / -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 (57 / 4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5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27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8 / -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40 / 3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35 / 2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24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(61 / 3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7 / 3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29 / 7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24 / -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(60 / 10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6 / 2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31 / 3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2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 (49 / 5 / 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31 / 7 / 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 (115 / 13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(57 / 1 / 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 (203 / 21 / 3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2 / 5 / 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 (62 / 7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44 / -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 (128 / 12 / 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4 / 4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48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27 / - / 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89 / 6 / 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18 / 10 / 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(108 / 14 / 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 (54 / - / 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2 (180 / 24 / 2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5 (172 / 59 / 6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3 (699 / 80 / 3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6 (414 / 2 / 6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4 (1285 / 141 / 16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6" name="Obdélník 4">
            <a:extLst>
              <a:ext uri="{FF2B5EF4-FFF2-40B4-BE49-F238E27FC236}">
                <a16:creationId xmlns:a16="http://schemas.microsoft.com/office/drawing/2014/main" id="{CF4F4DD4-5D05-4AA4-B6B7-30E2E7BF4344}"/>
              </a:ext>
            </a:extLst>
          </p:cNvPr>
          <p:cNvSpPr/>
          <p:nvPr/>
        </p:nvSpPr>
        <p:spPr>
          <a:xfrm>
            <a:off x="609693" y="72472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za 7denní období 19. 11. – 25. 11. 2021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7DA84AC6-10F0-4D41-9F1A-6572994DE132}"/>
              </a:ext>
            </a:extLst>
          </p:cNvPr>
          <p:cNvSpPr txBox="1"/>
          <p:nvPr/>
        </p:nvSpPr>
        <p:spPr>
          <a:xfrm>
            <a:off x="3707125" y="6081831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é škály vizualizují rozsah hodnot v územích v rámci sledovaného ukazatele (sloupce)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648325E5-F71A-402A-B781-52C4AA1B55C4}"/>
              </a:ext>
            </a:extLst>
          </p:cNvPr>
          <p:cNvSpPr txBox="1"/>
          <p:nvPr/>
        </p:nvSpPr>
        <p:spPr>
          <a:xfrm>
            <a:off x="1495631" y="6316806"/>
            <a:ext cx="9383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zdravotničtí pracovníci mohou být zaměstnáni ve více typech zdravotnických zařízení a jsou pak započítáni do každé příslušné skupiny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747C38F7-A7F7-4B0C-9D0A-01511E1A6161}"/>
              </a:ext>
            </a:extLst>
          </p:cNvPr>
          <p:cNvGrpSpPr/>
          <p:nvPr/>
        </p:nvGrpSpPr>
        <p:grpSpPr>
          <a:xfrm>
            <a:off x="1592578" y="6134593"/>
            <a:ext cx="2143122" cy="171474"/>
            <a:chOff x="2185672" y="6586960"/>
            <a:chExt cx="2143122" cy="171474"/>
          </a:xfrm>
        </p:grpSpPr>
        <p:sp>
          <p:nvSpPr>
            <p:cNvPr id="18" name="TextovéPole 17">
              <a:extLst>
                <a:ext uri="{FF2B5EF4-FFF2-40B4-BE49-F238E27FC236}">
                  <a16:creationId xmlns:a16="http://schemas.microsoft.com/office/drawing/2014/main" id="{159EDEC4-9347-43EC-A452-533F0BDD4739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19" name="Obrázek 18">
              <a:extLst>
                <a:ext uri="{FF2B5EF4-FFF2-40B4-BE49-F238E27FC236}">
                  <a16:creationId xmlns:a16="http://schemas.microsoft.com/office/drawing/2014/main" id="{67B50C2A-82CD-4E17-A551-738737906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3383728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6"/>
            <a:ext cx="12192000" cy="1890853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zdravotnických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 ochranný efekt očkování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23631487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09330" y="3624"/>
            <a:ext cx="1060071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lékařů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262595" y="1110693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ékaři</a:t>
            </a:r>
          </a:p>
        </p:txBody>
      </p:sp>
      <p:graphicFrame>
        <p:nvGraphicFramePr>
          <p:cNvPr id="14" name="Tabulka 6">
            <a:extLst>
              <a:ext uri="{FF2B5EF4-FFF2-40B4-BE49-F238E27FC236}">
                <a16:creationId xmlns:a16="http://schemas.microsoft.com/office/drawing/2014/main" id="{2437943F-BD8E-4C02-97C2-1582C83DCB1C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8846924" y="1020334"/>
          <a:ext cx="2954284" cy="1381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4284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U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</a:tbl>
          </a:graphicData>
        </a:graphic>
      </p:graphicFrame>
      <p:pic>
        <p:nvPicPr>
          <p:cNvPr id="7" name="Obrázek 6">
            <a:extLst>
              <a:ext uri="{FF2B5EF4-FFF2-40B4-BE49-F238E27FC236}">
                <a16:creationId xmlns:a16="http://schemas.microsoft.com/office/drawing/2014/main" id="{82641AFC-1605-4F41-BF39-23E7E7AF4C2B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27451" y1="71591" x2="77451" y2="72727"/>
                        <a14:foregroundMark x1="59804" y1="71591" x2="59804" y2="71591"/>
                        <a14:foregroundMark x1="69608" y1="72727" x2="69608" y2="72727"/>
                        <a14:foregroundMark x1="28431" y1="29545" x2="28431" y2="29545"/>
                        <a14:foregroundMark x1="49329" y1="29545" x2="78431" y2="29545"/>
                        <a14:foregroundMark x1="29412" y1="29545" x2="30970" y2="29545"/>
                        <a14:foregroundMark x1="78431" y1="29545" x2="79412" y2="29545"/>
                        <a14:foregroundMark x1="79412" y1="31818" x2="79412" y2="31818"/>
                        <a14:foregroundMark x1="80392" y1="30682" x2="77451" y2="30682"/>
                        <a14:foregroundMark x1="24510" y1="29545" x2="29412" y2="30682"/>
                        <a14:foregroundMark x1="24510" y1="30682" x2="29412" y2="30682"/>
                        <a14:foregroundMark x1="48214" y1="31818" x2="77451" y2="31818"/>
                        <a14:foregroundMark x1="34314" y1="28409" x2="49020" y2="29545"/>
                        <a14:foregroundMark x1="32353" y1="31818" x2="78431" y2="31818"/>
                        <a14:foregroundMark x1="77451" y1="32955" x2="77451" y2="32955"/>
                        <a14:foregroundMark x1="78431" y1="32955" x2="78431" y2="32955"/>
                        <a14:foregroundMark x1="77451" y1="32955" x2="77451" y2="32955"/>
                        <a14:foregroundMark x1="78431" y1="32955" x2="76471" y2="31818"/>
                        <a14:backgroundMark x1="30392" y1="13636" x2="33872" y2="13636"/>
                        <a14:backgroundMark x1="34314" y1="22727" x2="37765" y2="2196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 flipV="1">
            <a:off x="8112043" y="1418957"/>
            <a:ext cx="917518" cy="1089009"/>
          </a:xfrm>
          <a:prstGeom prst="rect">
            <a:avLst/>
          </a:prstGeom>
        </p:spPr>
      </p:pic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1A3D9250-7EC2-4676-817D-7FBAAB380E9C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16373254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- lékaři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535052" y="626914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</a:t>
            </a:r>
            <a:r>
              <a:rPr kumimoji="0" lang="cs-CZ" sz="20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kařů</a:t>
            </a: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10F4A238-310C-43D5-9DDD-97D20F84F44C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1777230" y="533334"/>
          <a:ext cx="9468550" cy="3982614"/>
        </p:xfrm>
        <a:graphic>
          <a:graphicData uri="http://schemas.openxmlformats.org/drawingml/2006/table">
            <a:tbl>
              <a:tblPr/>
              <a:tblGrid>
                <a:gridCol w="1814911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8431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2238871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3176337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 a bez do</a:t>
                      </a:r>
                      <a:r>
                        <a:rPr lang="en-US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n</a:t>
                      </a:r>
                      <a:r>
                        <a:rPr lang="cs-CZ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ného</a:t>
                      </a: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dukce nákaz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 dokončeném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7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6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7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8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9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1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489994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7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67690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3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6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1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7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2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6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2" name="TextBox 6">
            <a:extLst>
              <a:ext uri="{FF2B5EF4-FFF2-40B4-BE49-F238E27FC236}">
                <a16:creationId xmlns:a16="http://schemas.microsoft.com/office/drawing/2014/main" id="{4E5136DD-EA08-44B4-9244-D47999FE566C}"/>
              </a:ext>
            </a:extLst>
          </p:cNvPr>
          <p:cNvSpPr txBox="1"/>
          <p:nvPr/>
        </p:nvSpPr>
        <p:spPr>
          <a:xfrm>
            <a:off x="1671371" y="4569204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25. 11. 2021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5B5B0BB0-5406-461D-A320-1D46AFD62DAA}"/>
              </a:ext>
            </a:extLst>
          </p:cNvPr>
          <p:cNvSpPr txBox="1"/>
          <p:nvPr/>
        </p:nvSpPr>
        <p:spPr>
          <a:xfrm>
            <a:off x="262533" y="5010468"/>
            <a:ext cx="117652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klesá. Populace zdravotnických pracovníků je v tomto ohledu velmi důležitý model – jednak byli očkování mezi prvními na počátku 2021 a jednak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317804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09330" y="3624"/>
            <a:ext cx="11691878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sester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64955" y="1215468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stry</a:t>
            </a:r>
          </a:p>
        </p:txBody>
      </p:sp>
      <p:graphicFrame>
        <p:nvGraphicFramePr>
          <p:cNvPr id="14" name="Tabulka 6">
            <a:extLst>
              <a:ext uri="{FF2B5EF4-FFF2-40B4-BE49-F238E27FC236}">
                <a16:creationId xmlns:a16="http://schemas.microsoft.com/office/drawing/2014/main" id="{2437943F-BD8E-4C02-97C2-1582C83DCB1C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8846924" y="1020334"/>
          <a:ext cx="2954284" cy="1381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4284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U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</a:tbl>
          </a:graphicData>
        </a:graphic>
      </p:graphicFrame>
      <p:pic>
        <p:nvPicPr>
          <p:cNvPr id="8" name="Obrázek 7">
            <a:extLst>
              <a:ext uri="{FF2B5EF4-FFF2-40B4-BE49-F238E27FC236}">
                <a16:creationId xmlns:a16="http://schemas.microsoft.com/office/drawing/2014/main" id="{3D86CEB2-6B62-4921-BB74-B46CF4D5A227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27451" y1="71591" x2="77451" y2="72727"/>
                        <a14:foregroundMark x1="59804" y1="71591" x2="59804" y2="71591"/>
                        <a14:foregroundMark x1="69608" y1="72727" x2="69608" y2="72727"/>
                        <a14:foregroundMark x1="28431" y1="29545" x2="28431" y2="29545"/>
                        <a14:foregroundMark x1="49329" y1="29545" x2="78431" y2="29545"/>
                        <a14:foregroundMark x1="29412" y1="29545" x2="30970" y2="29545"/>
                        <a14:foregroundMark x1="78431" y1="29545" x2="79412" y2="29545"/>
                        <a14:foregroundMark x1="79412" y1="31818" x2="79412" y2="31818"/>
                        <a14:foregroundMark x1="80392" y1="30682" x2="77451" y2="30682"/>
                        <a14:foregroundMark x1="24510" y1="29545" x2="29412" y2="30682"/>
                        <a14:foregroundMark x1="24510" y1="30682" x2="29412" y2="30682"/>
                        <a14:foregroundMark x1="48214" y1="31818" x2="77451" y2="31818"/>
                        <a14:foregroundMark x1="34314" y1="28409" x2="49020" y2="29545"/>
                        <a14:foregroundMark x1="32353" y1="31818" x2="78431" y2="31818"/>
                        <a14:foregroundMark x1="77451" y1="32955" x2="77451" y2="32955"/>
                        <a14:foregroundMark x1="78431" y1="32955" x2="78431" y2="32955"/>
                        <a14:foregroundMark x1="77451" y1="32955" x2="77451" y2="32955"/>
                        <a14:foregroundMark x1="78431" y1="32955" x2="76471" y2="31818"/>
                        <a14:backgroundMark x1="30392" y1="13636" x2="33872" y2="13636"/>
                        <a14:backgroundMark x1="34314" y1="22727" x2="37765" y2="2196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 flipV="1">
            <a:off x="8112043" y="1418957"/>
            <a:ext cx="917518" cy="1089009"/>
          </a:xfrm>
          <a:prstGeom prst="rect">
            <a:avLst/>
          </a:prstGeom>
        </p:spPr>
      </p:pic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5ADEC061-A734-46D3-B5C1-3033EABD25B6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45826151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- sestry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350326" y="561308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sester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FAFEA63F-04FB-40D6-90F8-9B8C35D88AED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1417014" y="561308"/>
          <a:ext cx="9468550" cy="3982614"/>
        </p:xfrm>
        <a:graphic>
          <a:graphicData uri="http://schemas.openxmlformats.org/drawingml/2006/table">
            <a:tbl>
              <a:tblPr/>
              <a:tblGrid>
                <a:gridCol w="1814911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8431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2238871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3176337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 a bez do</a:t>
                      </a:r>
                      <a:r>
                        <a:rPr lang="en-US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n</a:t>
                      </a:r>
                      <a:r>
                        <a:rPr lang="cs-CZ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ného</a:t>
                      </a: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dukce nákaz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 dokončeném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1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3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7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1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1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1456686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1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38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8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489994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2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9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6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55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1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9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2" name="TextBox 6">
            <a:extLst>
              <a:ext uri="{FF2B5EF4-FFF2-40B4-BE49-F238E27FC236}">
                <a16:creationId xmlns:a16="http://schemas.microsoft.com/office/drawing/2014/main" id="{A1BE29D4-5059-46A8-8336-40CC2C52E68C}"/>
              </a:ext>
            </a:extLst>
          </p:cNvPr>
          <p:cNvSpPr txBox="1"/>
          <p:nvPr/>
        </p:nvSpPr>
        <p:spPr>
          <a:xfrm>
            <a:off x="1417014" y="4517209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25. 11. 2021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44D16114-8A1C-47F6-83C5-8DA746CAC7CE}"/>
              </a:ext>
            </a:extLst>
          </p:cNvPr>
          <p:cNvSpPr txBox="1"/>
          <p:nvPr/>
        </p:nvSpPr>
        <p:spPr>
          <a:xfrm>
            <a:off x="262533" y="5010468"/>
            <a:ext cx="117652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klesá. Populace zdravotnických pracovníků je v tomto ohledu velmi důležitý model – jednak byli očkování mezi prvními na počátku 2021 a jednak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632262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09330" y="3624"/>
            <a:ext cx="11232925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: populace ostatních ZP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444630" y="1272618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 ZP</a:t>
            </a:r>
          </a:p>
        </p:txBody>
      </p:sp>
      <p:graphicFrame>
        <p:nvGraphicFramePr>
          <p:cNvPr id="14" name="Tabulka 6">
            <a:extLst>
              <a:ext uri="{FF2B5EF4-FFF2-40B4-BE49-F238E27FC236}">
                <a16:creationId xmlns:a16="http://schemas.microsoft.com/office/drawing/2014/main" id="{2437943F-BD8E-4C02-97C2-1582C83DCB1C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8846924" y="1020334"/>
          <a:ext cx="2954284" cy="1381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4284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U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</a:tbl>
          </a:graphicData>
        </a:graphic>
      </p:graphicFrame>
      <p:pic>
        <p:nvPicPr>
          <p:cNvPr id="8" name="Obrázek 7">
            <a:extLst>
              <a:ext uri="{FF2B5EF4-FFF2-40B4-BE49-F238E27FC236}">
                <a16:creationId xmlns:a16="http://schemas.microsoft.com/office/drawing/2014/main" id="{38602B0B-CEB9-4E9D-8C0C-ACF8FD6CEBD7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27451" y1="71591" x2="77451" y2="72727"/>
                        <a14:foregroundMark x1="59804" y1="71591" x2="59804" y2="71591"/>
                        <a14:foregroundMark x1="69608" y1="72727" x2="69608" y2="72727"/>
                        <a14:foregroundMark x1="28431" y1="29545" x2="28431" y2="29545"/>
                        <a14:foregroundMark x1="49329" y1="29545" x2="78431" y2="29545"/>
                        <a14:foregroundMark x1="29412" y1="29545" x2="30970" y2="29545"/>
                        <a14:foregroundMark x1="78431" y1="29545" x2="79412" y2="29545"/>
                        <a14:foregroundMark x1="79412" y1="31818" x2="79412" y2="31818"/>
                        <a14:foregroundMark x1="80392" y1="30682" x2="77451" y2="30682"/>
                        <a14:foregroundMark x1="24510" y1="29545" x2="29412" y2="30682"/>
                        <a14:foregroundMark x1="24510" y1="30682" x2="29412" y2="30682"/>
                        <a14:foregroundMark x1="48214" y1="31818" x2="77451" y2="31818"/>
                        <a14:foregroundMark x1="34314" y1="28409" x2="49020" y2="29545"/>
                        <a14:foregroundMark x1="32353" y1="31818" x2="78431" y2="31818"/>
                        <a14:foregroundMark x1="77451" y1="32955" x2="77451" y2="32955"/>
                        <a14:foregroundMark x1="78431" y1="32955" x2="78431" y2="32955"/>
                        <a14:foregroundMark x1="77451" y1="32955" x2="77451" y2="32955"/>
                        <a14:foregroundMark x1="78431" y1="32955" x2="76471" y2="31818"/>
                        <a14:backgroundMark x1="30392" y1="13636" x2="33872" y2="13636"/>
                        <a14:backgroundMark x1="34314" y1="22727" x2="37765" y2="2196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 flipV="1">
            <a:off x="8112043" y="1418957"/>
            <a:ext cx="917518" cy="1089009"/>
          </a:xfrm>
          <a:prstGeom prst="rect">
            <a:avLst/>
          </a:prstGeom>
        </p:spPr>
      </p:pic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10F7BA8F-974B-4E1E-94BE-FF354A65541C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94012828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– ostatní ZP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479634" y="673357"/>
            <a:ext cx="43325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ostatních ZP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8" name="Table 5">
            <a:extLst>
              <a:ext uri="{FF2B5EF4-FFF2-40B4-BE49-F238E27FC236}">
                <a16:creationId xmlns:a16="http://schemas.microsoft.com/office/drawing/2014/main" id="{EB02C89D-4557-42AD-AF89-7DAB06F8F618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1666394" y="673357"/>
          <a:ext cx="9468550" cy="3982614"/>
        </p:xfrm>
        <a:graphic>
          <a:graphicData uri="http://schemas.openxmlformats.org/drawingml/2006/table">
            <a:tbl>
              <a:tblPr/>
              <a:tblGrid>
                <a:gridCol w="1814911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8431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2238871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3176337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 a bez do</a:t>
                      </a:r>
                      <a:r>
                        <a:rPr lang="en-US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n</a:t>
                      </a:r>
                      <a:r>
                        <a:rPr lang="cs-CZ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ného</a:t>
                      </a: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dukce nákaz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 dokončeném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8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3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7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525693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1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1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3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489994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7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1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9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18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9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4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0" name="TextBox 6">
            <a:extLst>
              <a:ext uri="{FF2B5EF4-FFF2-40B4-BE49-F238E27FC236}">
                <a16:creationId xmlns:a16="http://schemas.microsoft.com/office/drawing/2014/main" id="{53D98EF4-F012-4FF8-820F-951E602B41D7}"/>
              </a:ext>
            </a:extLst>
          </p:cNvPr>
          <p:cNvSpPr txBox="1"/>
          <p:nvPr/>
        </p:nvSpPr>
        <p:spPr>
          <a:xfrm>
            <a:off x="1598696" y="4655971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25. 11. 2021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AC4C7860-74B9-47D2-87FF-FCD709F5F14C}"/>
              </a:ext>
            </a:extLst>
          </p:cNvPr>
          <p:cNvSpPr txBox="1"/>
          <p:nvPr/>
        </p:nvSpPr>
        <p:spPr>
          <a:xfrm>
            <a:off x="262533" y="5038176"/>
            <a:ext cx="117652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klesá. Populace zdravotnických pracovníků je v tomto ohledu velmi důležitý model – jednak byli očkování mezi prvními na počátku 2021 a jednak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46021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09330" y="3624"/>
            <a:ext cx="11462559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ZP celkem 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888805" y="1376200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P celkem</a:t>
            </a:r>
          </a:p>
        </p:txBody>
      </p:sp>
      <p:graphicFrame>
        <p:nvGraphicFramePr>
          <p:cNvPr id="14" name="Tabulka 6">
            <a:extLst>
              <a:ext uri="{FF2B5EF4-FFF2-40B4-BE49-F238E27FC236}">
                <a16:creationId xmlns:a16="http://schemas.microsoft.com/office/drawing/2014/main" id="{2437943F-BD8E-4C02-97C2-1582C83DCB1C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8846924" y="1020334"/>
          <a:ext cx="2954284" cy="1381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4284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U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</a:tbl>
          </a:graphicData>
        </a:graphic>
      </p:graphicFrame>
      <p:pic>
        <p:nvPicPr>
          <p:cNvPr id="7" name="Obrázek 6">
            <a:extLst>
              <a:ext uri="{FF2B5EF4-FFF2-40B4-BE49-F238E27FC236}">
                <a16:creationId xmlns:a16="http://schemas.microsoft.com/office/drawing/2014/main" id="{1F87F473-CBAF-415A-B69A-D06AAEB5FEDE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27451" y1="71591" x2="77451" y2="72727"/>
                        <a14:foregroundMark x1="59804" y1="71591" x2="59804" y2="71591"/>
                        <a14:foregroundMark x1="69608" y1="72727" x2="69608" y2="72727"/>
                        <a14:foregroundMark x1="28431" y1="29545" x2="28431" y2="29545"/>
                        <a14:foregroundMark x1="49329" y1="29545" x2="78431" y2="29545"/>
                        <a14:foregroundMark x1="29412" y1="29545" x2="30970" y2="29545"/>
                        <a14:foregroundMark x1="78431" y1="29545" x2="79412" y2="29545"/>
                        <a14:foregroundMark x1="79412" y1="31818" x2="79412" y2="31818"/>
                        <a14:foregroundMark x1="80392" y1="30682" x2="77451" y2="30682"/>
                        <a14:foregroundMark x1="24510" y1="29545" x2="29412" y2="30682"/>
                        <a14:foregroundMark x1="24510" y1="30682" x2="29412" y2="30682"/>
                        <a14:foregroundMark x1="48214" y1="31818" x2="77451" y2="31818"/>
                        <a14:foregroundMark x1="34314" y1="28409" x2="49020" y2="29545"/>
                        <a14:foregroundMark x1="32353" y1="31818" x2="78431" y2="31818"/>
                        <a14:foregroundMark x1="77451" y1="32955" x2="77451" y2="32955"/>
                        <a14:foregroundMark x1="78431" y1="32955" x2="78431" y2="32955"/>
                        <a14:foregroundMark x1="77451" y1="32955" x2="77451" y2="32955"/>
                        <a14:foregroundMark x1="78431" y1="32955" x2="76471" y2="31818"/>
                        <a14:backgroundMark x1="30392" y1="13636" x2="33872" y2="13636"/>
                        <a14:backgroundMark x1="34314" y1="22727" x2="37765" y2="2196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 flipV="1">
            <a:off x="8112043" y="1418957"/>
            <a:ext cx="917518" cy="1089009"/>
          </a:xfrm>
          <a:prstGeom prst="rect">
            <a:avLst/>
          </a:prstGeom>
        </p:spPr>
      </p:pic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4BE1E5C9-F27C-47F3-9823-09CFE4D31CC8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7631212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zdravotničtí pracovníci </a:t>
            </a:r>
            <a:r>
              <a:rPr lang="cs-CZ" u="sng" dirty="0"/>
              <a:t>celkem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0C428FC5-EA14-48AE-B731-D5EA9FEB98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2601866"/>
              </p:ext>
            </p:extLst>
          </p:nvPr>
        </p:nvGraphicFramePr>
        <p:xfrm>
          <a:off x="356585" y="1390934"/>
          <a:ext cx="11149615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23702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387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Celkový počet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7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 7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 3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7 1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8 8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3 6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64 9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77 5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6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5. 11. 2021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C6F37292-6D98-4BA4-B894-BD354102F974}"/>
              </a:ext>
            </a:extLst>
          </p:cNvPr>
          <p:cNvSpPr/>
          <p:nvPr/>
        </p:nvSpPr>
        <p:spPr>
          <a:xfrm>
            <a:off x="330707" y="5686170"/>
            <a:ext cx="1145410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očet zdravotnických pracovníků </a:t>
            </a:r>
            <a:r>
              <a:rPr lang="cs-CZ" sz="1100" dirty="0">
                <a:solidFill>
                  <a:srgbClr val="000000"/>
                </a:solidFill>
              </a:rPr>
              <a:t>evidovaných v NZIS (Národní registr zdravotnických pracovníků – NRZP)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255987" y="618549"/>
            <a:ext cx="116978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Tabulka tedy nereflektuje, zda daný ZP skutečně vykonává zdravotnické povolání v ČR. Zahrnuti jsou i ZP v seniorním, důchodovém, věku.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60C7B47A-DD4D-4AD1-9492-34EAE5D35895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36990047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– ZP celkem 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535052" y="771128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ZP celkem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A65F9ACD-3961-458D-951B-62BFB867A8B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1666394" y="771128"/>
          <a:ext cx="9468550" cy="3982614"/>
        </p:xfrm>
        <a:graphic>
          <a:graphicData uri="http://schemas.openxmlformats.org/drawingml/2006/table">
            <a:tbl>
              <a:tblPr/>
              <a:tblGrid>
                <a:gridCol w="1814911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8431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2238871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3176337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 a bez do</a:t>
                      </a:r>
                      <a:r>
                        <a:rPr lang="en-US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n</a:t>
                      </a:r>
                      <a:r>
                        <a:rPr lang="cs-CZ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ného</a:t>
                      </a: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dukce nákaz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 dokončeném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7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6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7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6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2901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0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3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0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489994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3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8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6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18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7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4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2" name="TextBox 6">
            <a:extLst>
              <a:ext uri="{FF2B5EF4-FFF2-40B4-BE49-F238E27FC236}">
                <a16:creationId xmlns:a16="http://schemas.microsoft.com/office/drawing/2014/main" id="{E62E2B61-6665-4653-AF65-AA7DB242ABA7}"/>
              </a:ext>
            </a:extLst>
          </p:cNvPr>
          <p:cNvSpPr txBox="1"/>
          <p:nvPr/>
        </p:nvSpPr>
        <p:spPr>
          <a:xfrm>
            <a:off x="1666394" y="4750733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25. 11. 2021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007B7F61-2FDD-429A-A54E-2F0F9482D1BE}"/>
              </a:ext>
            </a:extLst>
          </p:cNvPr>
          <p:cNvSpPr txBox="1"/>
          <p:nvPr/>
        </p:nvSpPr>
        <p:spPr>
          <a:xfrm>
            <a:off x="262533" y="5010468"/>
            <a:ext cx="117652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klesá. Populace zdravotnických pracovníků je v tomto ohledu velmi důležitý model – jednak byli očkování mezi prvními na počátku 2021 a jednak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026059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97398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říloha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pracovníků sociálních služeb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(přímé hlášení od poskytovatelů)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538267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preval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25. 11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 zařízeních sociálních služeb </a:t>
            </a:r>
            <a:br>
              <a:rPr lang="cs-CZ" dirty="0"/>
            </a:br>
            <a:r>
              <a:rPr lang="cs-CZ" dirty="0"/>
              <a:t>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418743" y="1222049"/>
          <a:ext cx="8511611" cy="53453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9162962" y="1301496"/>
          <a:ext cx="2326326" cy="4971720"/>
        </p:xfrm>
        <a:graphic>
          <a:graphicData uri="http://schemas.openxmlformats.org/drawingml/2006/table">
            <a:tbl>
              <a:tblPr/>
              <a:tblGrid>
                <a:gridCol w="1485693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4063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51534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7" name="TextovéPole 8">
            <a:extLst>
              <a:ext uri="{FF2B5EF4-FFF2-40B4-BE49-F238E27FC236}">
                <a16:creationId xmlns:a16="http://schemas.microsoft.com/office/drawing/2014/main" id="{FDEE6DA7-8A32-4466-8C48-3BA05FF3131A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, modul sociálních služeb</a:t>
            </a:r>
          </a:p>
        </p:txBody>
      </p:sp>
    </p:spTree>
    <p:extLst>
      <p:ext uri="{BB962C8B-B14F-4D97-AF65-F5344CB8AC3E}">
        <p14:creationId xmlns:p14="http://schemas.microsoft.com/office/powerpoint/2010/main" val="18794825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, modul sociálních služeb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nově COVID-19 pozitivních pracovníků </a:t>
            </a:r>
            <a:br>
              <a:rPr lang="cs-CZ" dirty="0"/>
            </a:br>
            <a:r>
              <a:rPr lang="cs-CZ" dirty="0"/>
              <a:t>v zařízeních sociálních služeb</a:t>
            </a:r>
          </a:p>
        </p:txBody>
      </p:sp>
      <p:graphicFrame>
        <p:nvGraphicFramePr>
          <p:cNvPr id="7" name="Chart 31">
            <a:extLst>
              <a:ext uri="{FF2B5EF4-FFF2-40B4-BE49-F238E27FC236}">
                <a16:creationId xmlns:a16="http://schemas.microsoft.com/office/drawing/2014/main" id="{1A0DC1DF-8CED-49FC-A4A5-065F1A64BD52}"/>
              </a:ext>
            </a:extLst>
          </p:cNvPr>
          <p:cNvGraphicFramePr/>
          <p:nvPr/>
        </p:nvGraphicFramePr>
        <p:xfrm>
          <a:off x="407350" y="1059679"/>
          <a:ext cx="8523006" cy="5486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2">
            <a:extLst>
              <a:ext uri="{FF2B5EF4-FFF2-40B4-BE49-F238E27FC236}">
                <a16:creationId xmlns:a16="http://schemas.microsoft.com/office/drawing/2014/main" id="{FDDA473E-2198-4E37-8DAB-7936176EB801}"/>
              </a:ext>
            </a:extLst>
          </p:cNvPr>
          <p:cNvSpPr txBox="1"/>
          <p:nvPr/>
        </p:nvSpPr>
        <p:spPr>
          <a:xfrm rot="16200000">
            <a:off x="-941446" y="3165866"/>
            <a:ext cx="25875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Denní počet nových případů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B270C58A-BB49-4257-8406-1CEB47E406EE}"/>
              </a:ext>
            </a:extLst>
          </p:cNvPr>
          <p:cNvGraphicFramePr>
            <a:graphicFrameLocks noGrp="1"/>
          </p:cNvGraphicFramePr>
          <p:nvPr/>
        </p:nvGraphicFramePr>
        <p:xfrm>
          <a:off x="9060412" y="1207371"/>
          <a:ext cx="2763052" cy="5050096"/>
        </p:xfrm>
        <a:graphic>
          <a:graphicData uri="http://schemas.openxmlformats.org/drawingml/2006/table">
            <a:tbl>
              <a:tblPr/>
              <a:tblGrid>
                <a:gridCol w="1675629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08742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52037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a posledních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1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enní klouzavý průměr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3011470"/>
                  </a:ext>
                </a:extLst>
              </a:tr>
            </a:tbl>
          </a:graphicData>
        </a:graphic>
      </p:graphicFrame>
      <p:sp>
        <p:nvSpPr>
          <p:cNvPr id="9" name="Obdélník 4">
            <a:extLst>
              <a:ext uri="{FF2B5EF4-FFF2-40B4-BE49-F238E27FC236}">
                <a16:creationId xmlns:a16="http://schemas.microsoft.com/office/drawing/2014/main" id="{81867BFA-1453-40BE-A29B-836824A9B5EE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ých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25. 11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cxnSp>
        <p:nvCxnSpPr>
          <p:cNvPr id="11" name="Straight Connector 4">
            <a:extLst>
              <a:ext uri="{FF2B5EF4-FFF2-40B4-BE49-F238E27FC236}">
                <a16:creationId xmlns:a16="http://schemas.microsoft.com/office/drawing/2014/main" id="{FC15B3FD-8931-45F3-B9FA-489831BF4CD0}"/>
              </a:ext>
            </a:extLst>
          </p:cNvPr>
          <p:cNvCxnSpPr/>
          <p:nvPr/>
        </p:nvCxnSpPr>
        <p:spPr>
          <a:xfrm>
            <a:off x="1075769" y="1393737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">
            <a:extLst>
              <a:ext uri="{FF2B5EF4-FFF2-40B4-BE49-F238E27FC236}">
                <a16:creationId xmlns:a16="http://schemas.microsoft.com/office/drawing/2014/main" id="{98F82CC0-F179-44D1-AED9-4C8CAA8FCD8F}"/>
              </a:ext>
            </a:extLst>
          </p:cNvPr>
          <p:cNvSpPr txBox="1"/>
          <p:nvPr/>
        </p:nvSpPr>
        <p:spPr>
          <a:xfrm>
            <a:off x="1438027" y="1224463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21888767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802892" cy="576000"/>
          </a:xfrm>
        </p:spPr>
        <p:txBody>
          <a:bodyPr/>
          <a:lstStyle/>
          <a:p>
            <a:r>
              <a:rPr lang="cs-CZ" dirty="0"/>
              <a:t>Počty COVID-19 pozitivních na 100 000 osob v populaci pracovníků v sociálních službách</a:t>
            </a:r>
            <a:r>
              <a:rPr lang="en-US" dirty="0"/>
              <a:t>*</a:t>
            </a:r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856023"/>
            <a:ext cx="1438102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pracovníků v sociálních službách (suma za hodnocený časový úsek)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98FA2216-F217-4BAB-A9D1-49D7EE7FFB73}"/>
              </a:ext>
            </a:extLst>
          </p:cNvPr>
          <p:cNvSpPr txBox="1"/>
          <p:nvPr/>
        </p:nvSpPr>
        <p:spPr>
          <a:xfrm>
            <a:off x="1496291" y="6211667"/>
            <a:ext cx="105730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íci v zařízeních, které zadávají informace do sociálního modulu ISIN, což odpovídá asi 82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v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n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lu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ž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55608988-FFDF-4500-A7BA-71BB7DDEE999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30189" y="1037794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8912457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5. 11. 2021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5596059"/>
              </p:ext>
            </p:extLst>
          </p:nvPr>
        </p:nvGraphicFramePr>
        <p:xfrm>
          <a:off x="356585" y="1390934"/>
          <a:ext cx="11273439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77273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64698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1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5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 7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 8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 8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 8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8 7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4 2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2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0782301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sz="1800" dirty="0"/>
              <a:t>Očkování zdravotnických pracovníků – počty očkovaných v ča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/>
        </p:nvSpPr>
        <p:spPr>
          <a:xfrm rot="16200000">
            <a:off x="-2049215" y="2820163"/>
            <a:ext cx="46818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očkovaných (alespoň první dávka)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/>
        </p:nvGraphicFramePr>
        <p:xfrm>
          <a:off x="561974" y="759913"/>
          <a:ext cx="11377929" cy="4988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5619201-FB04-4641-AC77-14154175A615}"/>
              </a:ext>
            </a:extLst>
          </p:cNvPr>
          <p:cNvGraphicFramePr>
            <a:graphicFrameLocks noGrp="1"/>
          </p:cNvGraphicFramePr>
          <p:nvPr/>
        </p:nvGraphicFramePr>
        <p:xfrm>
          <a:off x="10344150" y="2181222"/>
          <a:ext cx="1595753" cy="2352680"/>
        </p:xfrm>
        <a:graphic>
          <a:graphicData uri="http://schemas.openxmlformats.org/drawingml/2006/table">
            <a:tbl>
              <a:tblPr/>
              <a:tblGrid>
                <a:gridCol w="994535">
                  <a:extLst>
                    <a:ext uri="{9D8B030D-6E8A-4147-A177-3AD203B41FA5}">
                      <a16:colId xmlns:a16="http://schemas.microsoft.com/office/drawing/2014/main" val="2493138386"/>
                    </a:ext>
                  </a:extLst>
                </a:gridCol>
                <a:gridCol w="601218">
                  <a:extLst>
                    <a:ext uri="{9D8B030D-6E8A-4147-A177-3AD203B41FA5}">
                      <a16:colId xmlns:a16="http://schemas.microsoft.com/office/drawing/2014/main" val="477226283"/>
                    </a:ext>
                  </a:extLst>
                </a:gridCol>
              </a:tblGrid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P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7 5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1664348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st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7 1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816711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tatní Z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3 6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517692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ékař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 7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618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25C2658B-5F4D-4E25-809A-B07FC20B8E8A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70397ABA-C686-444D-9A37-CA5AF71FAD64}"/>
              </a:ext>
            </a:extLst>
          </p:cNvPr>
          <p:cNvSpPr txBox="1"/>
          <p:nvPr/>
        </p:nvSpPr>
        <p:spPr>
          <a:xfrm>
            <a:off x="257785" y="5774033"/>
            <a:ext cx="11800865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Zahrnuty jsou zdravotničtí pracovníci (ZP) podle hlášení povinných subjektů do NRZP (vzdělávací instituce, poskytovatelé). Celkový počet ZP zahrnuje osoby s odpovídající odbornou způsobilostí pro výkony povolání ZP* žijící k danému datu. Výstup nezohledňuje, zda daný ZP skutečně vykonává dané povolání v ČR. Zahrnuti jsou i ZP v seniorním, důchodovém, věku.</a:t>
            </a:r>
          </a:p>
          <a:p>
            <a:r>
              <a:rPr lang="cs-CZ" sz="900" dirty="0"/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</p:txBody>
      </p:sp>
    </p:spTree>
    <p:extLst>
      <p:ext uri="{BB962C8B-B14F-4D97-AF65-F5344CB8AC3E}">
        <p14:creationId xmlns:p14="http://schemas.microsoft.com/office/powerpoint/2010/main" val="5633389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Vakcinace posilující dávkou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FC5F43CD-61A6-4942-B1EB-1AFAC38D4C4A}"/>
              </a:ext>
            </a:extLst>
          </p:cNvPr>
          <p:cNvSpPr txBox="1"/>
          <p:nvPr/>
        </p:nvSpPr>
        <p:spPr>
          <a:xfrm>
            <a:off x="5686425" y="103334"/>
            <a:ext cx="2371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bg1"/>
                </a:solidFill>
              </a:rPr>
              <a:t>Stav k </a:t>
            </a:r>
            <a:r>
              <a:rPr lang="cs-CZ" b="1" dirty="0">
                <a:solidFill>
                  <a:srgbClr val="FFFFFF"/>
                </a:solidFill>
              </a:rPr>
              <a:t>25. 11. 2021</a:t>
            </a:r>
            <a:endParaRPr lang="cs-CZ" b="1" dirty="0">
              <a:solidFill>
                <a:schemeClr val="bg1"/>
              </a:solidFill>
            </a:endParaRP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05F5D353-1230-45A8-9016-8A9D8618F6E5}"/>
              </a:ext>
            </a:extLst>
          </p:cNvPr>
          <p:cNvSpPr/>
          <p:nvPr/>
        </p:nvSpPr>
        <p:spPr>
          <a:xfrm>
            <a:off x="252076" y="600164"/>
            <a:ext cx="35317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b="1" dirty="0"/>
              <a:t>Aktivní zdravotničtí pracovníci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442B2FDB-F20E-40AA-ADF4-05FC4E7F4BF6}"/>
              </a:ext>
            </a:extLst>
          </p:cNvPr>
          <p:cNvSpPr txBox="1"/>
          <p:nvPr/>
        </p:nvSpPr>
        <p:spPr>
          <a:xfrm>
            <a:off x="252076" y="6023223"/>
            <a:ext cx="1156130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Počet zdravotnických pracovníků (ZP) dle hlášení povinných subjektů do Národního registru zdravotnických pracovníků – NRZP (vzdělávací instituce, poskytovatelé). Celkový počet ZP zahrnuje osoby s odpovídající odbornou způsobilostí pro výkony ZP a žijící k danému datu. V této analýze jsou zahrnuti ZP, u kterých poskytovatelé zdravotních služeb nahlásili jejich aktivní výkon zaměstnání </a:t>
            </a:r>
            <a:r>
              <a:rPr lang="pl-PL" sz="1100" dirty="0"/>
              <a:t>v období od 1.9.2021 do současnosti </a:t>
            </a:r>
            <a:r>
              <a:rPr lang="cs-CZ" sz="1100" dirty="0"/>
              <a:t>(v ambulantním sektoru mohou být tyto počty mírně nedohlášené). </a:t>
            </a:r>
          </a:p>
        </p:txBody>
      </p:sp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4567601D-A50C-4550-904F-A1C3633503D3}"/>
              </a:ext>
            </a:extLst>
          </p:cNvPr>
          <p:cNvGraphicFramePr>
            <a:graphicFrameLocks noGrp="1"/>
          </p:cNvGraphicFramePr>
          <p:nvPr/>
        </p:nvGraphicFramePr>
        <p:xfrm>
          <a:off x="315344" y="958340"/>
          <a:ext cx="11561311" cy="4698672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1744287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3216406433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759659700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2767492860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77329140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3497186403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843981191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3182885545"/>
                    </a:ext>
                  </a:extLst>
                </a:gridCol>
              </a:tblGrid>
              <a:tr h="61364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Zdravotničtí pracovníci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ékaři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včetně zubních lékařů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stry</a:t>
                      </a:r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tatní zdravotničtí pracovníci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NLZP § 7 až § 42 kromě § 21b, farmaceuti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3287447"/>
                  </a:ext>
                </a:extLst>
              </a:tr>
              <a:tr h="60099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raj podle místa působení*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Hlavní město Prah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1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2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8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Středoče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4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Jihoče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Plzeň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arlovar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Ústec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Liber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álovéhrad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Pardubi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aj Vysočin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Jihomorav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0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Olomou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Zlín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23355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effectLst/>
                        </a:rPr>
                        <a:t>Moravskoslez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8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22116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 4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 3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4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1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8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0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0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1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07918BD6-47A7-4629-B00F-7C350B485540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0106F417-40A8-41A4-A3D6-B22D419501BE}"/>
              </a:ext>
            </a:extLst>
          </p:cNvPr>
          <p:cNvSpPr/>
          <p:nvPr/>
        </p:nvSpPr>
        <p:spPr>
          <a:xfrm>
            <a:off x="252076" y="5668681"/>
            <a:ext cx="915827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100" dirty="0"/>
              <a:t>* Přeočkování posilující dávkou je možné pro osoby, které mají nejméně 6 měsíců (v této analýze 182 dnů) po aplikaci ukončovací (druhé) dávky.</a:t>
            </a:r>
          </a:p>
          <a:p>
            <a:r>
              <a:rPr lang="cs-CZ" sz="1100" dirty="0"/>
              <a:t>** Jeden zdravotnický pracovník může působit ve více krajích, do celkového počtu je zahrnut pouze jednou. </a:t>
            </a:r>
          </a:p>
        </p:txBody>
      </p:sp>
    </p:spTree>
    <p:extLst>
      <p:ext uri="{BB962C8B-B14F-4D97-AF65-F5344CB8AC3E}">
        <p14:creationId xmlns:p14="http://schemas.microsoft.com/office/powerpoint/2010/main" val="34192678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5. 11. 2021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36579048-BB0C-4A41-91BF-EE6AEF0D25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8837015"/>
              </p:ext>
            </p:extLst>
          </p:nvPr>
        </p:nvGraphicFramePr>
        <p:xfrm>
          <a:off x="337535" y="1200434"/>
          <a:ext cx="11516932" cy="4496159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910490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104900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85343374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89722905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4290228433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5169759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50319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dirty="0"/>
                        <a:t>Zdravotničtí pracovníci evidovaní v NZIS podle pracovních pozic*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effectLst/>
                        </a:rPr>
                        <a:t>Počet zdravotnických pracovníků**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čkovaní celkem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posilují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ukončova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ouze s 1.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rodělali onemocně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stat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včetně zubních lékařů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1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594 (87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182 (48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855 (38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7 (1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23 (2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40 (10,2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5101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 7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 830 (81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020 (31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708 (48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02 (2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15 (7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18 (10,9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 8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 804 (79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133 (26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802 (51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69 (2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34 (7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572 (13,7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31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32 (78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22 (25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10 (5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0 (2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3 (6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26 (15,6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75 (78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72 (22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73 (53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0 (2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4 (9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5 (12,6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3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411 (8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70 (26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103 (51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8 (2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8 (7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75 (12,1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52 (85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8 (38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30 (44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 (1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4 (4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1 (10,0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92 (74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2 (20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73 (51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7 (2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4 (8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88 (17,2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462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5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811 (80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88 (28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52 (51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1 (1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0 (6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03 (12,4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1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805 (79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45 (26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40 (50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0 (2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33 (6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00 (14,2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effectLst/>
                        </a:rPr>
                        <a:t>CELKEM**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8 7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4 228 (82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2 335 (33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7 365 (47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 528 (1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 172 (6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 330 (11,8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67815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5. 11. 2021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57D8B5EC-D4C4-4142-B9B3-D668437D75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90932777"/>
              </p:ext>
            </p:extLst>
          </p:nvPr>
        </p:nvGraphicFramePr>
        <p:xfrm>
          <a:off x="847725" y="981075"/>
          <a:ext cx="10696575" cy="4924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5E273B3-595D-4506-8111-3C0DC2F8EF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036311"/>
              </p:ext>
            </p:extLst>
          </p:nvPr>
        </p:nvGraphicFramePr>
        <p:xfrm>
          <a:off x="11229975" y="1724026"/>
          <a:ext cx="824515" cy="3975389"/>
        </p:xfrm>
        <a:graphic>
          <a:graphicData uri="http://schemas.openxmlformats.org/drawingml/2006/table">
            <a:tbl>
              <a:tblPr firstRow="1" lastRow="1" bandRow="1"/>
              <a:tblGrid>
                <a:gridCol w="824515">
                  <a:extLst>
                    <a:ext uri="{9D8B030D-6E8A-4147-A177-3AD203B41FA5}">
                      <a16:colId xmlns:a16="http://schemas.microsoft.com/office/drawing/2014/main" val="2631467471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2 1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05623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04 7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574389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1 8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582854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2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18676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 6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715713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5 3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06593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4 5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8268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2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828598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5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471299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1 1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167027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48 7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601955"/>
                  </a:ext>
                </a:extLst>
              </a:tr>
            </a:tbl>
          </a:graphicData>
        </a:graphic>
      </p:graphicFrame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4AA833D1-7B4A-4D1C-A2B1-06653D5E7670}"/>
              </a:ext>
            </a:extLst>
          </p:cNvPr>
          <p:cNvGraphicFramePr>
            <a:graphicFrameLocks noGrp="1"/>
          </p:cNvGraphicFramePr>
          <p:nvPr/>
        </p:nvGraphicFramePr>
        <p:xfrm>
          <a:off x="257786" y="1724025"/>
          <a:ext cx="2342539" cy="39753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42539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včetně zubních lékařů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55177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60abf0963433422b508f803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942</TotalTime>
  <Words>10079</Words>
  <Application>Microsoft Office PowerPoint</Application>
  <PresentationFormat>Širokoúhlá obrazovka</PresentationFormat>
  <Paragraphs>2199</Paragraphs>
  <Slides>44</Slides>
  <Notes>27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44</vt:i4>
      </vt:variant>
    </vt:vector>
  </HeadingPairs>
  <TitlesOfParts>
    <vt:vector size="50" baseType="lpstr">
      <vt:lpstr>Arial</vt:lpstr>
      <vt:lpstr>Calibri Light</vt:lpstr>
      <vt:lpstr>Calibri</vt:lpstr>
      <vt:lpstr>Motiv Office</vt:lpstr>
      <vt:lpstr>3_Motiv Office</vt:lpstr>
      <vt:lpstr>1_Motiv Office</vt:lpstr>
      <vt:lpstr>Prezentace aplikace PowerPoint</vt:lpstr>
      <vt:lpstr>Prezentace aplikace PowerPoint</vt:lpstr>
      <vt:lpstr>Očkování zdravotnických pracovníků </vt:lpstr>
      <vt:lpstr>Očkovaní zdravotničtí pracovníci celkem</vt:lpstr>
      <vt:lpstr>Očkovaní aktivní zdravotničtí pracovníci</vt:lpstr>
      <vt:lpstr>Očkování zdravotnických pracovníků – počty očkovaných v čase</vt:lpstr>
      <vt:lpstr>Vakcinace posilující dávkou</vt:lpstr>
      <vt:lpstr>Očkovaní aktivní zdravotničtí pracovníci</vt:lpstr>
      <vt:lpstr>Očkovaní aktivní zdravotničtí pracovníci</vt:lpstr>
      <vt:lpstr>Očkování zdravotnických pracovníků </vt:lpstr>
      <vt:lpstr>Očkovaní zdravotníci v nemocnicích akutní lůžkové péče a ZZS</vt:lpstr>
      <vt:lpstr>Očkování zdravotnických pracovníků </vt:lpstr>
      <vt:lpstr>Přehled povolání u COVID-19 pozitivních ostatních zdravotnických pracovníků za období 01-10 / 2021 k 25. 11.</vt:lpstr>
      <vt:lpstr>Přehled povolání u COVID-19 pozitivních ostatních zdravotnických pracovníků za období 10-11 / 2021 k 25. 11.</vt:lpstr>
      <vt:lpstr>Očkovaní aktivní zdravotničtí pracovníci</vt:lpstr>
      <vt:lpstr>Očkovaní NLZP v nemocnicích akutní lůžkové péče a ZZS</vt:lpstr>
      <vt:lpstr>Očkovaní lékaři* podle typu zdravotnického zařízení</vt:lpstr>
      <vt:lpstr>Očkované sestry* podle typu zdravotnického zařízení</vt:lpstr>
      <vt:lpstr>Očkovaní ostatní ZP* podle typu zdravotnického zařízení</vt:lpstr>
      <vt:lpstr>Prezentace aplikace PowerPoint</vt:lpstr>
      <vt:lpstr>Počty pracovníků ve zdravotnictví s nákazou COVID-19</vt:lpstr>
      <vt:lpstr>Počty pracovníků ve zdravotnictví s nákazou COVID-19</vt:lpstr>
      <vt:lpstr>Prezentace aplikace PowerPoint</vt:lpstr>
      <vt:lpstr>Počty COVID-19 pozitivních na 100 000 osob v populaci lékařů</vt:lpstr>
      <vt:lpstr>Prezentace aplikace PowerPoint</vt:lpstr>
      <vt:lpstr>Počty COVID-19 pozitivních na 100 000 osob v populaci sester</vt:lpstr>
      <vt:lpstr>Prezentace aplikace PowerPoint</vt:lpstr>
      <vt:lpstr>Počty COVID-19 pozitivních na 100 000 osob v populaci ostatních ZP</vt:lpstr>
      <vt:lpstr>Prezentace aplikace PowerPoint</vt:lpstr>
      <vt:lpstr>Počty pracovníků ve zdravotnictví s nákazou COVID-19</vt:lpstr>
      <vt:lpstr>Počty pracovníků ve zdravotnictví (ZP) s nákazou COVID-19</vt:lpstr>
      <vt:lpstr>Prezentace aplikace PowerPoint</vt:lpstr>
      <vt:lpstr>Počet nových případů COVID-19 na 100 tis. dané kategorie v populaci lékařů</vt:lpstr>
      <vt:lpstr>Prezentace aplikace PowerPoint</vt:lpstr>
      <vt:lpstr>Počet nových případů COVID-19 na 100 tis. dané kategorie v populaci sester</vt:lpstr>
      <vt:lpstr>Prezentace aplikace PowerPoint</vt:lpstr>
      <vt:lpstr>Počet nových případů COVID-19 na 100 tis. dané kategorie: populace ostatních ZP</vt:lpstr>
      <vt:lpstr>Prezentace aplikace PowerPoint</vt:lpstr>
      <vt:lpstr>Počet nových případů COVID-19 na 100 tis. dané kategorie v populaci ZP celkem </vt:lpstr>
      <vt:lpstr>Prezentace aplikace PowerPoint</vt:lpstr>
      <vt:lpstr>Prezentace aplikace PowerPoint</vt:lpstr>
      <vt:lpstr>Počty pracovníků v zařízeních sociálních služeb  s nákazou COVID-19</vt:lpstr>
      <vt:lpstr>Počty nově COVID-19 pozitivních pracovníků  v zařízeních sociálních služeb</vt:lpstr>
      <vt:lpstr>Počty COVID-19 pozitivních na 100 000 osob v populaci pracovníků v sociálních službách*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Dušek Ladislav prof. RNDr. Ph.D.</cp:lastModifiedBy>
  <cp:revision>784</cp:revision>
  <dcterms:created xsi:type="dcterms:W3CDTF">2020-11-11T17:36:28Z</dcterms:created>
  <dcterms:modified xsi:type="dcterms:W3CDTF">2021-11-28T16:44:22Z</dcterms:modified>
</cp:coreProperties>
</file>